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14"/>
  </p:notesMasterIdLst>
  <p:handoutMasterIdLst>
    <p:handoutMasterId r:id="rId15"/>
  </p:handoutMasterIdLst>
  <p:sldIdLst>
    <p:sldId id="2147483640" r:id="rId5"/>
    <p:sldId id="2147483641" r:id="rId6"/>
    <p:sldId id="2147483642" r:id="rId7"/>
    <p:sldId id="2147483643" r:id="rId8"/>
    <p:sldId id="2147483646" r:id="rId9"/>
    <p:sldId id="2147483644" r:id="rId10"/>
    <p:sldId id="2147483645" r:id="rId11"/>
    <p:sldId id="2147483647" r:id="rId12"/>
    <p:sldId id="256" r:id="rId13"/>
  </p:sldIdLst>
  <p:sldSz cx="12192000" cy="6858000"/>
  <p:notesSz cx="6950075" cy="9236075"/>
  <p:custShowLst>
    <p:custShow name="Format Guide Workshop" id="0">
      <p:sldLst/>
    </p:custShow>
  </p:custShow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pendix" id="{924B0C84-EDA7-4EBD-B681-98C0AE8F3B56}">
          <p14:sldIdLst>
            <p14:sldId id="2147483640"/>
            <p14:sldId id="2147483641"/>
            <p14:sldId id="2147483642"/>
            <p14:sldId id="2147483643"/>
            <p14:sldId id="2147483646"/>
            <p14:sldId id="2147483644"/>
            <p14:sldId id="2147483645"/>
            <p14:sldId id="2147483647"/>
            <p14:sldId id="25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5109E1E-DE32-A4FC-B6FA-EB2AAADE1A3F}" name="Lund, Chris (US SCA)" initials="LC" userId="Lund, Chris (US SCA)" providerId="None"/>
  <p188:author id="{FC42A536-E388-6F5E-C26A-8658D5581A8D}" name="Tackel (Barbosa), Juliana" initials="T(J" userId="Tackel (Barbosa), Juliana" providerId="None"/>
  <p188:author id="{7D378D57-CF78-3D59-9423-3371D70B694B}" name="Amana, Victor" initials="AV" userId="Amana, Victor" providerId="None"/>
  <p188:author id="{02B8FA59-6CFD-13B1-6C61-FBA48AEA3FC2}" name="Kessler, Ben" initials="" userId="S::Kessler.Ben@bcg.com::f2d7e505-a9f9-4f81-a487-e78c762d07f4" providerId="AD"/>
  <p188:author id="{4D66275F-3D42-3D8B-30C0-D48358D12FA2}" name="Wang, Nancy" initials="" userId="S::Wang.Nancy@bcg.com::8080687e-d44e-4e40-8415-e88d0d9f31b0" providerId="AD"/>
  <p188:author id="{B7BCC780-395F-FFEE-3C72-FFAFFADC9826}" name="Kessler, Ben" initials="KB" userId="Kessler, Ben" providerId="None"/>
  <p188:author id="{B75F5DC3-2E47-1747-04E0-AE4FFA858775}" name="Barton, Brody" initials="BB" userId="Barton, Brody" providerId="None"/>
  <p188:author id="{B08A95C6-2C0E-CDAE-F633-E80C099E4DF1}" name="Hughes, Dimitri" initials="HD" userId="Hughes, Dimitri" providerId="None"/>
  <p188:author id="{5A243BDD-CA8F-E839-DF76-49B8C558CF6C}" name="Wang, Nancy" initials="WN" userId="Wang, Nancy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28A"/>
    <a:srgbClr val="92D050"/>
    <a:srgbClr val="F06125"/>
    <a:srgbClr val="F5C017"/>
    <a:srgbClr val="0E56A5"/>
    <a:srgbClr val="CD0209"/>
    <a:srgbClr val="880106"/>
    <a:srgbClr val="E2DF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79" autoAdjust="0"/>
    <p:restoredTop sz="94660"/>
  </p:normalViewPr>
  <p:slideViewPr>
    <p:cSldViewPr snapToGrid="0">
      <p:cViewPr varScale="1">
        <p:scale>
          <a:sx n="87" d="100"/>
          <a:sy n="87" d="100"/>
        </p:scale>
        <p:origin x="859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4/4/20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en-US" smtClean="0"/>
              <a:pPr/>
              <a:t>4/4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1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5178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2502E4C-5BCF-4C5D-94F3-71FEBBC71DAA}"/>
              </a:ext>
            </a:extLst>
          </p:cNvPr>
          <p:cNvSpPr/>
          <p:nvPr userDrawn="1"/>
        </p:nvSpPr>
        <p:spPr>
          <a:xfrm>
            <a:off x="0" y="5724778"/>
            <a:ext cx="12192000" cy="113322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37" name="Freeform 13">
            <a:extLst>
              <a:ext uri="{FF2B5EF4-FFF2-40B4-BE49-F238E27FC236}">
                <a16:creationId xmlns:a16="http://schemas.microsoft.com/office/drawing/2014/main" id="{FD9077DA-7FC5-4668-B763-B4FDAADF5196}"/>
              </a:ext>
            </a:extLst>
          </p:cNvPr>
          <p:cNvSpPr/>
          <p:nvPr userDrawn="1"/>
        </p:nvSpPr>
        <p:spPr>
          <a:xfrm>
            <a:off x="725991" y="2302368"/>
            <a:ext cx="5660904" cy="2802651"/>
          </a:xfrm>
          <a:custGeom>
            <a:avLst/>
            <a:gdLst>
              <a:gd name="connsiteX0" fmla="*/ 0 w 5660904"/>
              <a:gd name="connsiteY0" fmla="*/ 0 h 2802651"/>
              <a:gd name="connsiteX1" fmla="*/ 5660904 w 5660904"/>
              <a:gd name="connsiteY1" fmla="*/ 0 h 2802651"/>
              <a:gd name="connsiteX2" fmla="*/ 5652911 w 5660904"/>
              <a:gd name="connsiteY2" fmla="*/ 2560551 h 2802651"/>
              <a:gd name="connsiteX3" fmla="*/ 5653191 w 5660904"/>
              <a:gd name="connsiteY3" fmla="*/ 2579412 h 2802651"/>
              <a:gd name="connsiteX4" fmla="*/ 0 w 5660904"/>
              <a:gd name="connsiteY4" fmla="*/ 2802651 h 2802651"/>
              <a:gd name="connsiteX5" fmla="*/ 0 w 5660904"/>
              <a:gd name="connsiteY5" fmla="*/ 0 h 2802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60904" h="2802651">
                <a:moveTo>
                  <a:pt x="0" y="0"/>
                </a:moveTo>
                <a:lnTo>
                  <a:pt x="5660904" y="0"/>
                </a:lnTo>
                <a:cubicBezTo>
                  <a:pt x="5660904" y="780221"/>
                  <a:pt x="5650021" y="2289660"/>
                  <a:pt x="5652911" y="2560551"/>
                </a:cubicBezTo>
                <a:lnTo>
                  <a:pt x="5653191" y="2579412"/>
                </a:lnTo>
                <a:lnTo>
                  <a:pt x="0" y="2802651"/>
                </a:lnTo>
                <a:lnTo>
                  <a:pt x="0" y="0"/>
                </a:lnTo>
                <a:close/>
              </a:path>
            </a:pathLst>
          </a:custGeom>
          <a:solidFill>
            <a:srgbClr val="231F20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7583C94-ED99-4B4B-8B8E-94ABA379083C}"/>
              </a:ext>
            </a:extLst>
          </p:cNvPr>
          <p:cNvSpPr txBox="1"/>
          <p:nvPr userDrawn="1"/>
        </p:nvSpPr>
        <p:spPr>
          <a:xfrm>
            <a:off x="-1918001" y="68956"/>
            <a:ext cx="1822586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</a:rPr>
              <a:t>To change the image, right click on the image, go to </a:t>
            </a:r>
            <a:r>
              <a:rPr kumimoji="0" lang="en-AU" sz="1000" b="1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Montserrat"/>
              </a:rPr>
              <a:t>Format Background</a:t>
            </a: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</a:rPr>
              <a:t>, click </a:t>
            </a:r>
            <a:r>
              <a:rPr kumimoji="0" lang="en-AU" sz="1000" b="1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Montserrat"/>
              </a:rPr>
              <a:t>Picture Source Insert </a:t>
            </a: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</a:rPr>
              <a:t>and choose your image. 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4B145A15-D841-4B78-96C6-BFC8BB3E9E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7279" y="4094871"/>
            <a:ext cx="5179216" cy="413315"/>
          </a:xfrm>
          <a:custGeom>
            <a:avLst/>
            <a:gdLst>
              <a:gd name="connsiteX0" fmla="*/ 0 w 4823142"/>
              <a:gd name="connsiteY0" fmla="*/ 0 h 3794760"/>
              <a:gd name="connsiteX1" fmla="*/ 4823142 w 4823142"/>
              <a:gd name="connsiteY1" fmla="*/ 0 h 3794760"/>
              <a:gd name="connsiteX2" fmla="*/ 4823142 w 4823142"/>
              <a:gd name="connsiteY2" fmla="*/ 3794760 h 3794760"/>
              <a:gd name="connsiteX3" fmla="*/ 0 w 4823142"/>
              <a:gd name="connsiteY3" fmla="*/ 3794760 h 3794760"/>
              <a:gd name="connsiteX4" fmla="*/ 0 w 4823142"/>
              <a:gd name="connsiteY4" fmla="*/ 0 h 3794760"/>
              <a:gd name="connsiteX0" fmla="*/ 0 w 4823142"/>
              <a:gd name="connsiteY0" fmla="*/ 0 h 3794760"/>
              <a:gd name="connsiteX1" fmla="*/ 4823142 w 4823142"/>
              <a:gd name="connsiteY1" fmla="*/ 0 h 3794760"/>
              <a:gd name="connsiteX2" fmla="*/ 4815522 w 4823142"/>
              <a:gd name="connsiteY2" fmla="*/ 3558540 h 3794760"/>
              <a:gd name="connsiteX3" fmla="*/ 0 w 4823142"/>
              <a:gd name="connsiteY3" fmla="*/ 3794760 h 3794760"/>
              <a:gd name="connsiteX4" fmla="*/ 0 w 4823142"/>
              <a:gd name="connsiteY4" fmla="*/ 0 h 3794760"/>
              <a:gd name="connsiteX0" fmla="*/ 0 w 4823142"/>
              <a:gd name="connsiteY0" fmla="*/ 0 h 3794760"/>
              <a:gd name="connsiteX1" fmla="*/ 4823142 w 4823142"/>
              <a:gd name="connsiteY1" fmla="*/ 0 h 3794760"/>
              <a:gd name="connsiteX2" fmla="*/ 4815523 w 4823142"/>
              <a:gd name="connsiteY2" fmla="*/ 3773970 h 3794760"/>
              <a:gd name="connsiteX3" fmla="*/ 0 w 4823142"/>
              <a:gd name="connsiteY3" fmla="*/ 3794760 h 3794760"/>
              <a:gd name="connsiteX4" fmla="*/ 0 w 4823142"/>
              <a:gd name="connsiteY4" fmla="*/ 0 h 3794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3142" h="3794760">
                <a:moveTo>
                  <a:pt x="0" y="0"/>
                </a:moveTo>
                <a:lnTo>
                  <a:pt x="4823142" y="0"/>
                </a:lnTo>
                <a:cubicBezTo>
                  <a:pt x="4820602" y="1257990"/>
                  <a:pt x="4818063" y="2515980"/>
                  <a:pt x="4815523" y="3773970"/>
                </a:cubicBezTo>
                <a:lnTo>
                  <a:pt x="0" y="3794760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0" tIns="72000" rIns="0" anchor="t" anchorCtr="0">
            <a:norm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spcBef>
                <a:spcPts val="1800"/>
              </a:spcBef>
              <a:defRPr sz="900">
                <a:solidFill>
                  <a:schemeClr val="accent1"/>
                </a:solidFill>
                <a:latin typeface="+mj-lt"/>
              </a:defRPr>
            </a:lvl3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31CF8B79-A74E-4AF1-95E5-92FD78EA0C3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7280" y="2595726"/>
            <a:ext cx="5179216" cy="1338606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800" b="1">
                <a:solidFill>
                  <a:schemeClr val="bg1"/>
                </a:solidFill>
                <a:latin typeface="+mj-lt"/>
              </a:defRPr>
            </a:lvl1pPr>
            <a:lvl5pPr marL="118800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70BC9391-EC6D-461B-88D8-9B7B6FACAE5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763768" y="6118298"/>
            <a:ext cx="2287105" cy="184666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 b="0">
                <a:solidFill>
                  <a:schemeClr val="tx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j-lt"/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B1EB91F7-CD14-4B13-BA2A-81E5DD1672A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5993" y="6272186"/>
            <a:ext cx="2287105" cy="184666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j-lt"/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E4EA2A17-DD5D-4329-A20A-39880FA6A5F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178902" y="6118298"/>
            <a:ext cx="2287105" cy="184666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 b="0">
                <a:solidFill>
                  <a:schemeClr val="tx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j-lt"/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05079578-6DFC-42D6-BF27-6E8D03CD6F1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0531" y="-6165"/>
            <a:ext cx="1535342" cy="1365445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 algn="l">
              <a:defRPr sz="1800" b="1">
                <a:solidFill>
                  <a:srgbClr val="FF0000"/>
                </a:solidFill>
                <a:latin typeface="+mj-lt"/>
              </a:defRPr>
            </a:lvl1pPr>
            <a:lvl5pPr algn="l">
              <a:defRPr b="1"/>
            </a:lvl5pPr>
          </a:lstStyle>
          <a:p>
            <a:pPr lvl="0"/>
            <a:r>
              <a:rPr lang="en-US"/>
              <a:t> </a:t>
            </a:r>
          </a:p>
          <a:p>
            <a:pPr lvl="4"/>
            <a:endParaRPr lang="en-AU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4B65DDE-D89E-4928-BCD6-FE86A7CF170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763769" y="6302964"/>
            <a:ext cx="2287105" cy="158633"/>
          </a:xfrm>
        </p:spPr>
        <p:txBody>
          <a:bodyPr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FC91B87-83D8-427C-A6C5-CFF9C091798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78901" y="6302964"/>
            <a:ext cx="2287105" cy="158633"/>
          </a:xfrm>
        </p:spPr>
        <p:txBody>
          <a:bodyPr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’s titl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2592B6F-632D-4494-80AF-8726995C5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905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2B6F-632D-4494-80AF-8726995C5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23525" y="1785600"/>
            <a:ext cx="4294875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67333A-B6D1-400E-B354-DBB164C17085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FDD9695-D3F0-4C82-B366-C340408D7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449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DD9695-D3F0-4C82-B366-C340408D7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23525" y="1804650"/>
            <a:ext cx="615402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696171A7-0FFD-4856-B220-739B12438934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3D6364-BA74-449A-ADB0-DAE93BCBA6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71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3D6364-BA74-449A-ADB0-DAE93BCBA6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723525" y="2764203"/>
            <a:ext cx="2385113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 baseline="0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0A3F5C0-DA81-4735-83BB-EB74CDDB9EF7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BF333BB-BAB7-46FB-B191-2493E47A4B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60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F333BB-BAB7-46FB-B191-2493E47A4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C1921"/>
              </a:gs>
              <a:gs pos="100000">
                <a:srgbClr val="89020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23525" y="2764203"/>
            <a:ext cx="2385113" cy="1314311"/>
          </a:xfrm>
        </p:spPr>
        <p:txBody>
          <a:bodyPr vert="horz" anchor="ctr" anchorCtr="0">
            <a:noAutofit/>
          </a:bodyPr>
          <a:lstStyle>
            <a:lvl1pPr>
              <a:defRPr sz="28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F577CD1-21ED-46A2-969F-0A665A3C97A2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763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1785600"/>
            <a:ext cx="3968710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B543383-3397-49C7-9634-0F5B7A6DD382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C4B90F8-6641-47C4-9B03-FDFF6010B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498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4B90F8-6641-47C4-9B03-FDFF6010B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FC1921"/>
              </a:gs>
              <a:gs pos="100000">
                <a:srgbClr val="89020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1785600"/>
            <a:ext cx="3968710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6613BC5-913E-4B13-A2A8-EE4886EBBE23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2DAB722-E14F-40AA-BBB7-61A30173F7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063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DAB722-E14F-40AA-BBB7-61A30173F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4580121" cy="387798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1" i="0" u="none" kern="1200" spc="0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4FB17AA-8747-4A62-BA21-ED3A0DD2D0EF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86D63FD-B99B-407A-BAFA-74CD3A7A8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509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6D63FD-B99B-407A-BAFA-74CD3A7A8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FC1921"/>
              </a:gs>
              <a:gs pos="100000">
                <a:srgbClr val="89020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4580121" cy="387798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EEF5028-7006-4ADD-AC9D-1312723AE064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7FA96BA-6A55-402D-8B1E-42435F6BC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431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FA96BA-6A55-402D-8B1E-42435F6BC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6163275" cy="387798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1" i="0" u="none" kern="1200" spc="0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FB34226-5DD0-4E0C-A4D2-209885445810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81853E0-8EA9-4C11-BE16-0E883A318A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880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853E0-8EA9-4C11-BE16-0E883A318A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C1921"/>
              </a:gs>
              <a:gs pos="100000">
                <a:srgbClr val="890207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6163275" cy="387798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E2925B-B2FB-4687-A69F-A21F4084DE9A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92C28E9B-2BB6-4F88-BFB3-03FC1D1DF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010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C28E9B-2BB6-4F88-BFB3-03FC1D1DF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10729912" cy="387798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1" i="0" u="none" kern="1200" spc="0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6E9B10ED-B6BA-4548-BD4F-45ACFE1C74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74" y="6406785"/>
            <a:ext cx="1301939" cy="113872"/>
          </a:xfrm>
          <a:prstGeom prst="rect">
            <a:avLst/>
          </a:prstGeom>
        </p:spPr>
      </p:pic>
      <p:pic>
        <p:nvPicPr>
          <p:cNvPr id="43" name="Picture 42" descr="Logo&#10;&#10;Description automatically generated">
            <a:extLst>
              <a:ext uri="{FF2B5EF4-FFF2-40B4-BE49-F238E27FC236}">
                <a16:creationId xmlns:a16="http://schemas.microsoft.com/office/drawing/2014/main" id="{AA5BF040-AFFA-4490-8009-F959F459B3A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9380" y="6070911"/>
            <a:ext cx="836116" cy="629401"/>
          </a:xfrm>
          <a:prstGeom prst="rect">
            <a:avLst/>
          </a:prstGeom>
        </p:spPr>
      </p:pic>
      <p:sp>
        <p:nvSpPr>
          <p:cNvPr id="44" name="Slide Number Placeholder 5">
            <a:extLst>
              <a:ext uri="{FF2B5EF4-FFF2-40B4-BE49-F238E27FC236}">
                <a16:creationId xmlns:a16="http://schemas.microsoft.com/office/drawing/2014/main" id="{87026280-F128-44F3-ACB9-5624D0BBA8CB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6" name="Footer Placeholder 3">
            <a:extLst>
              <a:ext uri="{FF2B5EF4-FFF2-40B4-BE49-F238E27FC236}">
                <a16:creationId xmlns:a16="http://schemas.microsoft.com/office/drawing/2014/main" id="{EAE4BC8C-9023-4FCC-99BF-975F43BC9626}"/>
              </a:ext>
            </a:extLst>
          </p:cNvPr>
          <p:cNvSpPr txBox="1">
            <a:spLocks/>
          </p:cNvSpPr>
          <p:nvPr userDrawn="1"/>
        </p:nvSpPr>
        <p:spPr>
          <a:xfrm>
            <a:off x="2366221" y="6289707"/>
            <a:ext cx="7988441" cy="2350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srgbClr val="231F20">
                    <a:tint val="75000"/>
                  </a:srgb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|  Confidential – Internal Use Only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72E0521-9E3D-4C8D-B858-0E45F36D7B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3900" y="1230313"/>
            <a:ext cx="10728325" cy="276225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Subtitle 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CFF7F6A-1FFF-45F8-88CC-5B2A268FD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7832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FF7F6A-1FFF-45F8-88CC-5B2A268FD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3826333"/>
            <a:ext cx="10729912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AD2A246-C966-455E-A9B5-546488E81F11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4FE70A2-4611-4976-9245-C87E0059D1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2047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FE70A2-4611-4976-9245-C87E0059D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723525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3826333"/>
            <a:ext cx="10729912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7507D35-D224-431F-B04D-017B3DED5333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89020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07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C192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29D1B9-D294-4A90-80B4-95395EA572A6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BCB7517-7B03-4882-9EA0-75F0138369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63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CB7517-7B03-4882-9EA0-75F013836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10729912" cy="3877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435368D-2878-4F83-A1EF-C6B5DEA4407C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AE2A8D-2FAE-47E9-9F12-FC0D96259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7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AE2A8D-2FAE-47E9-9F12-FC0D96259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A0CF5B3-81CB-4F60-B9FB-891747DE1BC8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1CA717C-DE0C-4E9F-BA77-22028CB544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384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CA717C-DE0C-4E9F-BA77-22028CB544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AE5E73D-FB80-4814-BE6D-CF1C77EF896D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B54064B-AA44-4AA1-9AAF-F41BA42D1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670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54064B-AA44-4AA1-9AAF-F41BA42D1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D798AF-1C23-4EDB-A63E-CC852E063F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6F81F6C-2F12-435F-826C-290A66C7691A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71752E37-0C3E-45C8-B6AA-7DF0DB8D60D3}"/>
              </a:ext>
            </a:extLst>
          </p:cNvPr>
          <p:cNvSpPr txBox="1">
            <a:spLocks/>
          </p:cNvSpPr>
          <p:nvPr userDrawn="1"/>
        </p:nvSpPr>
        <p:spPr>
          <a:xfrm>
            <a:off x="723525" y="2993851"/>
            <a:ext cx="3383280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4521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 2">
            <a:extLst>
              <a:ext uri="{FF2B5EF4-FFF2-40B4-BE49-F238E27FC236}">
                <a16:creationId xmlns:a16="http://schemas.microsoft.com/office/drawing/2014/main" id="{531DD0F8-34D7-4463-ACFC-26E565DA4225}"/>
              </a:ext>
            </a:extLst>
          </p:cNvPr>
          <p:cNvSpPr/>
          <p:nvPr userDrawn="1"/>
        </p:nvSpPr>
        <p:spPr>
          <a:xfrm>
            <a:off x="0" y="0"/>
            <a:ext cx="12192000" cy="6115433"/>
          </a:xfrm>
          <a:custGeom>
            <a:avLst/>
            <a:gdLst>
              <a:gd name="connsiteX0" fmla="*/ 0 w 12192000"/>
              <a:gd name="connsiteY0" fmla="*/ 0 h 6115433"/>
              <a:gd name="connsiteX1" fmla="*/ 12192000 w 12192000"/>
              <a:gd name="connsiteY1" fmla="*/ 0 h 6115433"/>
              <a:gd name="connsiteX2" fmla="*/ 12192000 w 12192000"/>
              <a:gd name="connsiteY2" fmla="*/ 5633984 h 6115433"/>
              <a:gd name="connsiteX3" fmla="*/ 0 w 12192000"/>
              <a:gd name="connsiteY3" fmla="*/ 6115433 h 6115433"/>
              <a:gd name="connsiteX4" fmla="*/ 0 w 12192000"/>
              <a:gd name="connsiteY4" fmla="*/ 0 h 6115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115433">
                <a:moveTo>
                  <a:pt x="0" y="0"/>
                </a:moveTo>
                <a:lnTo>
                  <a:pt x="12192000" y="0"/>
                </a:lnTo>
                <a:lnTo>
                  <a:pt x="12192000" y="5633984"/>
                </a:lnTo>
                <a:lnTo>
                  <a:pt x="0" y="6115433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77EF2350-48B8-4A5B-BB54-7A1984E4375B}"/>
              </a:ext>
            </a:extLst>
          </p:cNvPr>
          <p:cNvSpPr txBox="1">
            <a:spLocks/>
          </p:cNvSpPr>
          <p:nvPr userDrawn="1"/>
        </p:nvSpPr>
        <p:spPr>
          <a:xfrm>
            <a:off x="2366221" y="6289707"/>
            <a:ext cx="7988441" cy="2350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srgbClr val="231F20">
                    <a:tint val="75000"/>
                  </a:srgb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|  Confidential – Internal Use Only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FC0F188-CF29-4CA8-A824-1B38E9FAFDF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74" y="6406785"/>
            <a:ext cx="1301939" cy="113872"/>
          </a:xfrm>
          <a:prstGeom prst="rect">
            <a:avLst/>
          </a:prstGeom>
        </p:spPr>
      </p:pic>
      <p:pic>
        <p:nvPicPr>
          <p:cNvPr id="29" name="Picture 28" descr="Logo&#10;&#10;Description automatically generated">
            <a:extLst>
              <a:ext uri="{FF2B5EF4-FFF2-40B4-BE49-F238E27FC236}">
                <a16:creationId xmlns:a16="http://schemas.microsoft.com/office/drawing/2014/main" id="{35DA2DEA-9A20-44A1-B136-EB53C68D416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9380" y="6070911"/>
            <a:ext cx="836116" cy="629401"/>
          </a:xfrm>
          <a:prstGeom prst="rect">
            <a:avLst/>
          </a:prstGeom>
        </p:spPr>
      </p:pic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123A4D1-7BC4-45D8-A4F9-BA4A2BFF9FB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5045" y="2424129"/>
            <a:ext cx="10327013" cy="1066446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+mj-lt"/>
              </a:defRPr>
            </a:lvl1pPr>
            <a:lvl5pPr>
              <a:defRPr sz="1400"/>
            </a:lvl5pPr>
          </a:lstStyle>
          <a:p>
            <a:pPr lvl="0"/>
            <a:r>
              <a:rPr lang="en-US"/>
              <a:t>Thank You / Questions</a:t>
            </a:r>
          </a:p>
          <a:p>
            <a:pPr lvl="4"/>
            <a:endParaRPr lang="en-AU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301F606A-1AF7-45C4-80D0-72BCCA05944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0531" y="-6165"/>
            <a:ext cx="1535342" cy="1365445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 algn="l">
              <a:defRPr sz="1800" b="1">
                <a:solidFill>
                  <a:srgbClr val="FF0000"/>
                </a:solidFill>
                <a:latin typeface="+mj-lt"/>
              </a:defRPr>
            </a:lvl1pPr>
            <a:lvl5pPr algn="l">
              <a:defRPr b="1"/>
            </a:lvl5pPr>
          </a:lstStyle>
          <a:p>
            <a:pPr lvl="0"/>
            <a:r>
              <a:rPr lang="en-US"/>
              <a:t> </a:t>
            </a:r>
          </a:p>
          <a:p>
            <a:pPr lvl="4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CE7249B-12E4-4856-97CD-E35F793E69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833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E7249B-12E4-4856-97CD-E35F793E69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>
            <a:extLst>
              <a:ext uri="{FF2B5EF4-FFF2-40B4-BE49-F238E27FC236}">
                <a16:creationId xmlns:a16="http://schemas.microsoft.com/office/drawing/2014/main" id="{E274678D-3279-44A8-B89C-8D93FD461C0F}"/>
              </a:ext>
            </a:extLst>
          </p:cNvPr>
          <p:cNvGrpSpPr/>
          <p:nvPr userDrawn="1"/>
        </p:nvGrpSpPr>
        <p:grpSpPr>
          <a:xfrm>
            <a:off x="-600" y="-1"/>
            <a:ext cx="12193200" cy="6858001"/>
            <a:chOff x="-600" y="-1"/>
            <a:chExt cx="12193200" cy="6858001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FB4F7E3-4998-40BD-8269-735A8CFABE90}"/>
                </a:ext>
              </a:extLst>
            </p:cNvPr>
            <p:cNvSpPr/>
            <p:nvPr/>
          </p:nvSpPr>
          <p:spPr>
            <a:xfrm>
              <a:off x="0" y="-1"/>
              <a:ext cx="12192000" cy="6857999"/>
            </a:xfrm>
            <a:custGeom>
              <a:avLst/>
              <a:gdLst>
                <a:gd name="connsiteX0" fmla="*/ 723525 w 12192000"/>
                <a:gd name="connsiteY0" fmla="*/ 736798 h 6857999"/>
                <a:gd name="connsiteX1" fmla="*/ 723525 w 12192000"/>
                <a:gd name="connsiteY1" fmla="*/ 6359915 h 6857999"/>
                <a:gd name="connsiteX2" fmla="*/ 11453436 w 12192000"/>
                <a:gd name="connsiteY2" fmla="*/ 6359915 h 6857999"/>
                <a:gd name="connsiteX3" fmla="*/ 11453436 w 12192000"/>
                <a:gd name="connsiteY3" fmla="*/ 736798 h 6857999"/>
                <a:gd name="connsiteX4" fmla="*/ 0 w 12192000"/>
                <a:gd name="connsiteY4" fmla="*/ 0 h 6857999"/>
                <a:gd name="connsiteX5" fmla="*/ 12192000 w 12192000"/>
                <a:gd name="connsiteY5" fmla="*/ 0 h 6857999"/>
                <a:gd name="connsiteX6" fmla="*/ 12192000 w 12192000"/>
                <a:gd name="connsiteY6" fmla="*/ 6857999 h 6857999"/>
                <a:gd name="connsiteX7" fmla="*/ 0 w 12192000"/>
                <a:gd name="connsiteY7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6857999">
                  <a:moveTo>
                    <a:pt x="723525" y="736798"/>
                  </a:moveTo>
                  <a:lnTo>
                    <a:pt x="723525" y="6359915"/>
                  </a:lnTo>
                  <a:lnTo>
                    <a:pt x="11453436" y="6359915"/>
                  </a:lnTo>
                  <a:lnTo>
                    <a:pt x="11453436" y="736798"/>
                  </a:lnTo>
                  <a:close/>
                  <a:moveTo>
                    <a:pt x="0" y="0"/>
                  </a:moveTo>
                  <a:lnTo>
                    <a:pt x="12192000" y="0"/>
                  </a:lnTo>
                  <a:lnTo>
                    <a:pt x="12192000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1" name="Baselines / anchors">
              <a:extLst>
                <a:ext uri="{FF2B5EF4-FFF2-40B4-BE49-F238E27FC236}">
                  <a16:creationId xmlns:a16="http://schemas.microsoft.com/office/drawing/2014/main" id="{414789A5-C3D2-44EC-A9DB-B712616F2B66}"/>
                </a:ext>
              </a:extLst>
            </p:cNvPr>
            <p:cNvGrpSpPr/>
            <p:nvPr/>
          </p:nvGrpSpPr>
          <p:grpSpPr>
            <a:xfrm>
              <a:off x="-600" y="736798"/>
              <a:ext cx="12193200" cy="5207620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E15037A9-C494-4211-80EC-D45CFDD2B11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A628BEB-2EB2-40D3-84F3-FE2905AFDBA5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48C357A2-9D7E-4A35-AE01-9017235DA490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48594EE8-3AA6-41AF-B11F-687CE1E2DCAE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200F275-C7E5-4705-9A1F-5C44040BC90E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F0ABC588-6E07-4594-9833-A2271D42032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BC05399-23E7-46FA-B20D-AD3289AC703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7AA83189-4A53-4ECC-9FF7-9905A893803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57E5AE71-1966-4D69-92A2-97E8E6BB917B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E397B92A-C4A0-4703-A625-05701191D24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BF522725-F3B0-470E-BED9-204EB9D19FED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0F8922A3-1557-4F25-95B3-25DF56C34785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F177693A-A3DC-4A2C-A2D5-BBEA84E608C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20AED183-5CCF-4EEE-B1BB-4EDDF4A9961D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553DFD57-AC58-44A4-8209-7F5B01B5D136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9C5E4C39-851F-4958-8E02-7E7DF4D15DC5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21188F8A-3DB4-4439-A5BC-FE5548B745D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B46C88C9-B30E-48FA-B2F1-02F4DD6B895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86CA4FD5-ADB6-493E-9A30-9C73F021626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2DCE1AA9-980B-4B56-B716-92629EBC8A5E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>
              <a:extLst>
                <a:ext uri="{FF2B5EF4-FFF2-40B4-BE49-F238E27FC236}">
                  <a16:creationId xmlns:a16="http://schemas.microsoft.com/office/drawing/2014/main" id="{2F9C4978-0525-4B12-ADE5-C9DF4FB88ED4}"/>
                </a:ext>
              </a:extLst>
            </p:cNvPr>
            <p:cNvGrpSpPr/>
            <p:nvPr/>
          </p:nvGrpSpPr>
          <p:grpSpPr>
            <a:xfrm>
              <a:off x="1277000" y="736798"/>
              <a:ext cx="9638000" cy="5207620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D3AFA44D-F311-4712-AF43-7919B6FA8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906BD489-5855-40C2-B9F4-AFB80A992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58C98FC8-7B74-4E40-8BC6-22B03DF0BF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743A0516-EF7A-4D86-9584-7CF0FE7B59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10D34A7C-3878-400E-ADBD-7926458220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1888FC42-2F03-437F-9DB7-68B17E5559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71D0BE2D-83C4-4640-8773-554FBEE927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DE7EB829-44FD-45DB-BFE0-C397FFEB98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4D70ECAD-DE1C-4727-8F08-183C69DC99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AB727BE4-BB31-4A93-B42F-E4DFDB4F83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5E2B5B96-D802-4097-9D11-3B60AF8E3A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3" name="Slide edges">
              <a:extLst>
                <a:ext uri="{FF2B5EF4-FFF2-40B4-BE49-F238E27FC236}">
                  <a16:creationId xmlns:a16="http://schemas.microsoft.com/office/drawing/2014/main" id="{8F428AFC-6344-43E8-9242-DE845D1E2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4" name="Footnote measure">
              <a:extLst>
                <a:ext uri="{FF2B5EF4-FFF2-40B4-BE49-F238E27FC236}">
                  <a16:creationId xmlns:a16="http://schemas.microsoft.com/office/drawing/2014/main" id="{E58ABD45-E52B-4E0F-99B9-FC6098EEB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526" y="5944417"/>
              <a:ext cx="10729913" cy="41549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0FE92F20-F6B2-485D-B15B-D3948A514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525" y="1718631"/>
              <a:ext cx="10729913" cy="14591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B16A93AA-EDA1-442E-9E9B-2C4877D66E2B}"/>
                </a:ext>
              </a:extLst>
            </p:cNvPr>
            <p:cNvGrpSpPr/>
            <p:nvPr/>
          </p:nvGrpSpPr>
          <p:grpSpPr>
            <a:xfrm>
              <a:off x="723525" y="5797322"/>
              <a:ext cx="10729911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A224CFBC-DB59-4024-92E2-97B7DF0204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0F278A5B-9E31-4DCE-9A0E-8CB220912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A523888E-BCAC-4AF7-ADFE-A48D4E3DF1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B5CA9D90-CA1E-4A0D-8ED3-FA20983ED7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8725D7D9-E5EA-4A59-91A8-5F25151D99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012631FB-D5A4-4CA6-91E3-A43882C8EB6A}"/>
                </a:ext>
              </a:extLst>
            </p:cNvPr>
            <p:cNvSpPr/>
            <p:nvPr/>
          </p:nvSpPr>
          <p:spPr>
            <a:xfrm>
              <a:off x="723526" y="1864544"/>
              <a:ext cx="10729913" cy="4079874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2991DF08-E619-46DF-949D-06BEF438E864}"/>
                </a:ext>
              </a:extLst>
            </p:cNvPr>
            <p:cNvSpPr txBox="1"/>
            <p:nvPr/>
          </p:nvSpPr>
          <p:spPr>
            <a:xfrm>
              <a:off x="723525" y="5944417"/>
              <a:ext cx="979034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A6A6A6"/>
                  </a:solidFill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A6A6A6"/>
                  </a:solidFill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A6A6A6"/>
                  </a:solidFill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035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14A6CE-7A13-405B-8062-BC4BDB196ABD}"/>
              </a:ext>
            </a:extLst>
          </p:cNvPr>
          <p:cNvSpPr/>
          <p:nvPr userDrawn="1"/>
        </p:nvSpPr>
        <p:spPr>
          <a:xfrm>
            <a:off x="0" y="5724778"/>
            <a:ext cx="12192000" cy="113322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7" name="Freeform 13">
            <a:extLst>
              <a:ext uri="{FF2B5EF4-FFF2-40B4-BE49-F238E27FC236}">
                <a16:creationId xmlns:a16="http://schemas.microsoft.com/office/drawing/2014/main" id="{3CB67CA1-5061-4BC5-B84A-299ACD7A8317}"/>
              </a:ext>
            </a:extLst>
          </p:cNvPr>
          <p:cNvSpPr/>
          <p:nvPr userDrawn="1"/>
        </p:nvSpPr>
        <p:spPr>
          <a:xfrm>
            <a:off x="725991" y="2302368"/>
            <a:ext cx="5660904" cy="2802651"/>
          </a:xfrm>
          <a:custGeom>
            <a:avLst/>
            <a:gdLst>
              <a:gd name="connsiteX0" fmla="*/ 0 w 5660904"/>
              <a:gd name="connsiteY0" fmla="*/ 0 h 2802651"/>
              <a:gd name="connsiteX1" fmla="*/ 5660904 w 5660904"/>
              <a:gd name="connsiteY1" fmla="*/ 0 h 2802651"/>
              <a:gd name="connsiteX2" fmla="*/ 5652911 w 5660904"/>
              <a:gd name="connsiteY2" fmla="*/ 2560551 h 2802651"/>
              <a:gd name="connsiteX3" fmla="*/ 5653191 w 5660904"/>
              <a:gd name="connsiteY3" fmla="*/ 2579412 h 2802651"/>
              <a:gd name="connsiteX4" fmla="*/ 0 w 5660904"/>
              <a:gd name="connsiteY4" fmla="*/ 2802651 h 2802651"/>
              <a:gd name="connsiteX5" fmla="*/ 0 w 5660904"/>
              <a:gd name="connsiteY5" fmla="*/ 0 h 2802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60904" h="2802651">
                <a:moveTo>
                  <a:pt x="0" y="0"/>
                </a:moveTo>
                <a:lnTo>
                  <a:pt x="5660904" y="0"/>
                </a:lnTo>
                <a:cubicBezTo>
                  <a:pt x="5660904" y="780221"/>
                  <a:pt x="5650021" y="2289660"/>
                  <a:pt x="5652911" y="2560551"/>
                </a:cubicBezTo>
                <a:lnTo>
                  <a:pt x="5653191" y="2579412"/>
                </a:lnTo>
                <a:lnTo>
                  <a:pt x="0" y="2802651"/>
                </a:lnTo>
                <a:lnTo>
                  <a:pt x="0" y="0"/>
                </a:lnTo>
                <a:close/>
              </a:path>
            </a:pathLst>
          </a:custGeom>
          <a:solidFill>
            <a:srgbClr val="231F20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F2A6010-C209-4BF7-A876-0D1880D25FD6}"/>
              </a:ext>
            </a:extLst>
          </p:cNvPr>
          <p:cNvSpPr txBox="1"/>
          <p:nvPr userDrawn="1"/>
        </p:nvSpPr>
        <p:spPr>
          <a:xfrm>
            <a:off x="-1918001" y="68956"/>
            <a:ext cx="1822586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</a:rPr>
              <a:t>To change the image, right click on the image, go to </a:t>
            </a:r>
            <a:r>
              <a:rPr kumimoji="0" lang="en-AU" sz="1000" b="1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Montserrat"/>
              </a:rPr>
              <a:t>Format Background</a:t>
            </a: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</a:rPr>
              <a:t>, click </a:t>
            </a:r>
            <a:r>
              <a:rPr kumimoji="0" lang="en-AU" sz="1000" b="1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Montserrat"/>
              </a:rPr>
              <a:t>Picture Source Insert </a:t>
            </a: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</a:rPr>
              <a:t>and choose your image. 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3835AC84-8B2C-4E73-B2D5-F1BC3EA81D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7279" y="4094871"/>
            <a:ext cx="5179216" cy="413315"/>
          </a:xfrm>
          <a:custGeom>
            <a:avLst/>
            <a:gdLst>
              <a:gd name="connsiteX0" fmla="*/ 0 w 4823142"/>
              <a:gd name="connsiteY0" fmla="*/ 0 h 3794760"/>
              <a:gd name="connsiteX1" fmla="*/ 4823142 w 4823142"/>
              <a:gd name="connsiteY1" fmla="*/ 0 h 3794760"/>
              <a:gd name="connsiteX2" fmla="*/ 4823142 w 4823142"/>
              <a:gd name="connsiteY2" fmla="*/ 3794760 h 3794760"/>
              <a:gd name="connsiteX3" fmla="*/ 0 w 4823142"/>
              <a:gd name="connsiteY3" fmla="*/ 3794760 h 3794760"/>
              <a:gd name="connsiteX4" fmla="*/ 0 w 4823142"/>
              <a:gd name="connsiteY4" fmla="*/ 0 h 3794760"/>
              <a:gd name="connsiteX0" fmla="*/ 0 w 4823142"/>
              <a:gd name="connsiteY0" fmla="*/ 0 h 3794760"/>
              <a:gd name="connsiteX1" fmla="*/ 4823142 w 4823142"/>
              <a:gd name="connsiteY1" fmla="*/ 0 h 3794760"/>
              <a:gd name="connsiteX2" fmla="*/ 4815522 w 4823142"/>
              <a:gd name="connsiteY2" fmla="*/ 3558540 h 3794760"/>
              <a:gd name="connsiteX3" fmla="*/ 0 w 4823142"/>
              <a:gd name="connsiteY3" fmla="*/ 3794760 h 3794760"/>
              <a:gd name="connsiteX4" fmla="*/ 0 w 4823142"/>
              <a:gd name="connsiteY4" fmla="*/ 0 h 3794760"/>
              <a:gd name="connsiteX0" fmla="*/ 0 w 4823142"/>
              <a:gd name="connsiteY0" fmla="*/ 0 h 3794760"/>
              <a:gd name="connsiteX1" fmla="*/ 4823142 w 4823142"/>
              <a:gd name="connsiteY1" fmla="*/ 0 h 3794760"/>
              <a:gd name="connsiteX2" fmla="*/ 4815523 w 4823142"/>
              <a:gd name="connsiteY2" fmla="*/ 3773970 h 3794760"/>
              <a:gd name="connsiteX3" fmla="*/ 0 w 4823142"/>
              <a:gd name="connsiteY3" fmla="*/ 3794760 h 3794760"/>
              <a:gd name="connsiteX4" fmla="*/ 0 w 4823142"/>
              <a:gd name="connsiteY4" fmla="*/ 0 h 3794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3142" h="3794760">
                <a:moveTo>
                  <a:pt x="0" y="0"/>
                </a:moveTo>
                <a:lnTo>
                  <a:pt x="4823142" y="0"/>
                </a:lnTo>
                <a:cubicBezTo>
                  <a:pt x="4820602" y="1257990"/>
                  <a:pt x="4818063" y="2515980"/>
                  <a:pt x="4815523" y="3773970"/>
                </a:cubicBezTo>
                <a:lnTo>
                  <a:pt x="0" y="3794760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lIns="0" tIns="72000" rIns="0" anchor="t" anchorCtr="0">
            <a:norm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spcBef>
                <a:spcPts val="1800"/>
              </a:spcBef>
              <a:defRPr sz="900">
                <a:solidFill>
                  <a:schemeClr val="accent1"/>
                </a:solidFill>
                <a:latin typeface="+mj-lt"/>
              </a:defRPr>
            </a:lvl3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0075C52-1A06-4BFE-B1D5-910309322DF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7280" y="2595726"/>
            <a:ext cx="5179216" cy="1338606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800" b="1">
                <a:solidFill>
                  <a:schemeClr val="bg1"/>
                </a:solidFill>
                <a:latin typeface="+mj-lt"/>
              </a:defRPr>
            </a:lvl1pPr>
            <a:lvl5pPr marL="1188000" indent="0" algn="l">
              <a:lnSpc>
                <a:spcPct val="100000"/>
              </a:lnSpc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7E5DF063-1E7A-4318-AC4D-0011C247D6E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5993" y="6272186"/>
            <a:ext cx="2287105" cy="184666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j-lt"/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E155D22-D647-4471-96F9-36A5BA4516C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0531" y="-6165"/>
            <a:ext cx="1535342" cy="1365445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 algn="l">
              <a:defRPr sz="1800" b="1">
                <a:solidFill>
                  <a:srgbClr val="FF0000"/>
                </a:solidFill>
                <a:latin typeface="+mj-lt"/>
              </a:defRPr>
            </a:lvl1pPr>
            <a:lvl5pPr algn="l">
              <a:defRPr b="1"/>
            </a:lvl5pPr>
          </a:lstStyle>
          <a:p>
            <a:pPr lvl="0"/>
            <a:r>
              <a:rPr lang="en-US"/>
              <a:t> </a:t>
            </a:r>
          </a:p>
          <a:p>
            <a:pPr lvl="4"/>
            <a:endParaRPr lang="en-AU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AEE8D2F0-E994-4BFD-BAEC-962F7512C32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763768" y="6118298"/>
            <a:ext cx="2287105" cy="184666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 b="0">
                <a:solidFill>
                  <a:schemeClr val="tx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j-lt"/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51EC5CEA-DC7C-4E0F-A23B-EFC6455074B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178902" y="6118298"/>
            <a:ext cx="2287105" cy="184666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 b="0">
                <a:solidFill>
                  <a:schemeClr val="tx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j-lt"/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8892AF7-0305-479C-A9F2-84CD05B3C8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763769" y="6302964"/>
            <a:ext cx="2287105" cy="158633"/>
          </a:xfrm>
        </p:spPr>
        <p:txBody>
          <a:bodyPr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6CD18C9-DF01-49B1-9FAB-7C8C08DB876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78901" y="6302964"/>
            <a:ext cx="2287105" cy="158633"/>
          </a:xfrm>
        </p:spPr>
        <p:txBody>
          <a:bodyPr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’s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C860EF8-FA61-48FC-99ED-A2B399859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77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860EF8-FA61-48FC-99ED-A2B399859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10729912" cy="387798"/>
          </a:xfrm>
        </p:spPr>
        <p:txBody>
          <a:bodyPr vert="horz"/>
          <a:lstStyle>
            <a:lvl1pPr>
              <a:defRPr sz="2800">
                <a:solidFill>
                  <a:srgbClr val="FC192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3525" y="1867909"/>
            <a:ext cx="10729912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6E0635B-502E-49D4-A0C8-6EEE214E11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74" y="6406785"/>
            <a:ext cx="1301939" cy="113872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B07AE015-0AB1-4AA5-94F3-E98BCC9B02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9380" y="6070911"/>
            <a:ext cx="836116" cy="629401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8065681-71D8-4436-A8FF-5A73926810B1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781908D2-D368-4AA2-892C-F12311A7CB7C}"/>
              </a:ext>
            </a:extLst>
          </p:cNvPr>
          <p:cNvSpPr txBox="1">
            <a:spLocks/>
          </p:cNvSpPr>
          <p:nvPr userDrawn="1"/>
        </p:nvSpPr>
        <p:spPr>
          <a:xfrm>
            <a:off x="2366221" y="6289707"/>
            <a:ext cx="7988441" cy="2350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srgbClr val="231F20">
                    <a:tint val="75000"/>
                  </a:srgb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|  Confidential – Internal Use Only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8804160-1379-4F56-95C7-CC1CC6FEC0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3900" y="1230313"/>
            <a:ext cx="10728325" cy="276225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Subtitle 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0299A3-7A0B-487A-B164-F6B84CA1F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632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0299A3-7A0B-487A-B164-F6B84CA1F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10729912" cy="387798"/>
          </a:xfrm>
        </p:spPr>
        <p:txBody>
          <a:bodyPr vert="horz"/>
          <a:lstStyle>
            <a:lvl1pPr>
              <a:defRPr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A0E52DB-2C37-4E36-97C4-0AFC00B1BFF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74" y="6406785"/>
            <a:ext cx="1301939" cy="113872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124C6EBA-D253-4D36-8AD0-C1D871D27C8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9380" y="6070911"/>
            <a:ext cx="836116" cy="629401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CC5775F-6D28-497B-AFF4-B069940B4ED6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1484A098-4A8A-4C7B-9770-A6F48C21B601}"/>
              </a:ext>
            </a:extLst>
          </p:cNvPr>
          <p:cNvSpPr txBox="1">
            <a:spLocks/>
          </p:cNvSpPr>
          <p:nvPr userDrawn="1"/>
        </p:nvSpPr>
        <p:spPr>
          <a:xfrm>
            <a:off x="2366221" y="6289707"/>
            <a:ext cx="7988441" cy="2350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srgbClr val="231F20">
                    <a:tint val="75000"/>
                  </a:srgb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|  Confidential – Internal Use Only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B504E94-9564-460A-B4ED-3F2F2AC061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3900" y="1230313"/>
            <a:ext cx="10728325" cy="276225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Subtitle 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CD1C527-3696-42D2-8510-4A3E4BFFB0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416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D1C527-3696-42D2-8510-4A3E4BFFB0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FC192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3526" y="1876620"/>
            <a:ext cx="1072991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E47944-56CD-4356-BF63-2E7E5D62451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74" y="6406785"/>
            <a:ext cx="1301939" cy="113872"/>
          </a:xfrm>
          <a:prstGeom prst="rect">
            <a:avLst/>
          </a:prstGeom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0D6FAE91-970C-4278-B20B-1726B0F338D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9380" y="6070911"/>
            <a:ext cx="836116" cy="629401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D481F2C-1525-4C30-8493-C6449028B026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2253BE72-DE49-42B0-B706-83E1B40483B6}"/>
              </a:ext>
            </a:extLst>
          </p:cNvPr>
          <p:cNvSpPr txBox="1">
            <a:spLocks/>
          </p:cNvSpPr>
          <p:nvPr userDrawn="1"/>
        </p:nvSpPr>
        <p:spPr>
          <a:xfrm>
            <a:off x="2366221" y="6289707"/>
            <a:ext cx="7988441" cy="2350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srgbClr val="231F20">
                    <a:tint val="75000"/>
                  </a:srgb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|  Confidential – Internal Use Only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68508D9-A949-4679-9492-B2C7A23FBE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3900" y="1230313"/>
            <a:ext cx="10728325" cy="276225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Subtitle 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96474B3-46B5-441A-B2E6-7174CF6908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8797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6474B3-46B5-441A-B2E6-7174CF6908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23525" y="2158987"/>
            <a:ext cx="365047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FC192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723525" y="1227048"/>
            <a:ext cx="3650475" cy="664797"/>
          </a:xfrm>
        </p:spPr>
        <p:txBody>
          <a:bodyPr vert="horz" anchor="t">
            <a:noAutofit/>
          </a:bodyPr>
          <a:lstStyle>
            <a:lvl1pPr>
              <a:defRPr sz="2800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BCF3FA1-584A-487F-8C92-7185F3DAA3B2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A5908A7-7B89-4A7F-8ACC-AAA89E19D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672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5908A7-7B89-4A7F-8ACC-AAA89E19D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23524" y="2668041"/>
            <a:ext cx="10729912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723525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FC6478A-01C2-4AED-BD97-0B435B85BF61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DC17869-11D8-4C31-8232-8BD09AA5C9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445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C17869-11D8-4C31-8232-8BD09AA5C9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23525" y="3826800"/>
            <a:ext cx="10843275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723525" y="3680016"/>
            <a:ext cx="11465061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0912590-FB0A-41ED-AA19-D63F2C7F721C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6883F92-2389-42AD-9519-5C56B30298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34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883F92-2389-42AD-9519-5C56B3029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723525" y="2681103"/>
            <a:ext cx="3034356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48118B5-589D-462C-9DAD-8CC54557A02A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73A6956-3255-45FC-80A0-95B35CEF6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2938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3A6956-3255-45FC-80A0-95B35CEF6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6183004" cy="387798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5432FF1-9C62-4935-AEDA-946252888A64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F08A6B-BA17-46EE-A818-478E87DE8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0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F08A6B-BA17-46EE-A818-478E87DE8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8008058" cy="387798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F76F90F-9BCF-4E09-B9EA-349BAFD645ED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7048EEC-5BBB-40A7-BBB0-502F43B9AF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797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048EEC-5BBB-40A7-BBB0-502F43B9A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23525" y="2681103"/>
            <a:ext cx="3034356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F906433-9A92-4F42-ADFB-0576EBFF741B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2317002-F61A-4276-91FF-6CE0741169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98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317002-F61A-4276-91FF-6CE074116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23525" y="1785600"/>
            <a:ext cx="4294875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50197E33-BBFD-45CE-9669-FC4FFD540CFF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CA1CBE3-1B16-4736-B6F5-F4A30B9D08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47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A1CBE3-1B16-4736-B6F5-F4A30B9D0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723525" y="1544274"/>
            <a:ext cx="3358875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2800">
                <a:solidFill>
                  <a:srgbClr val="FC192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94B555F-CD0B-4B61-8C8A-78EA4E741D61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0AC934D-EECC-475D-A616-DD9A88F0CC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308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AC934D-EECC-475D-A616-DD9A88F0CC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23525" y="1785600"/>
            <a:ext cx="6154963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72A2B9A-6DDD-46C0-B274-81382BE5F369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889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723525" y="2764203"/>
            <a:ext cx="2385113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EC8DA9E-5351-4FB3-890A-288D7621EC66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23090A-CCED-4197-978F-F0E9FB46B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858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23090A-CCED-4197-978F-F0E9FB46B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C1921"/>
              </a:gs>
              <a:gs pos="100000">
                <a:srgbClr val="89020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23525" y="2764203"/>
            <a:ext cx="2385113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B57BB70-FD78-4D58-B286-42A27F5C6CAD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8153FC8-50BB-4862-BB00-372F58635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96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153FC8-50BB-4862-BB00-372F58635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1785600"/>
            <a:ext cx="3968710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832FC7D-1707-4D23-B6AB-746DC73570EE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F4582D-3C0A-46A9-9E94-FE8F8E470C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3833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F4582D-3C0A-46A9-9E94-FE8F8E470C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FC1921"/>
              </a:gs>
              <a:gs pos="100000">
                <a:srgbClr val="89020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1785600"/>
            <a:ext cx="3968710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63CD826-CBB3-4EB3-B82A-17A0EEF90B57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090329A-18C3-4AFB-9A87-68037F35FD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899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90329A-18C3-4AFB-9A87-68037F35F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4654297" cy="387798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E745129-7D87-4130-A316-8D1B343CCD92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25E31E3-C748-434C-B0BE-25F8CBCF9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7884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5E31E3-C748-434C-B0BE-25F8CBCF9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FC1921"/>
              </a:gs>
              <a:gs pos="100000">
                <a:srgbClr val="89020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4654297" cy="387798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6E77B9E-5745-4741-A3C7-318A3E67AD85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F141B2-3687-407F-B3C6-189AA354EB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8848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F141B2-3687-407F-B3C6-189AA354EB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6160971" cy="387798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E172003-91D9-410C-B8D8-E937AF1A9CBB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CC876AC-471E-4403-9664-A89941242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417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C876AC-471E-4403-9664-A89941242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C1921"/>
              </a:gs>
              <a:gs pos="100000">
                <a:srgbClr val="890207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6160971" cy="387798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27952F6-37F2-45E0-B0C8-7B4763232220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D36565-3B37-4B22-A6B8-E43CB5A308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35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D36565-3B37-4B22-A6B8-E43CB5A308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3826333"/>
            <a:ext cx="10729912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6F8829B-6CE1-4FC5-8564-43CA00981182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CD49F48-27AD-4102-9C15-1E3A81658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2521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D49F48-27AD-4102-9C15-1E3A81658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23524" y="2668041"/>
            <a:ext cx="10729912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723525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E952954-66B3-41FD-B60B-F6FD24F37A52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A7C4D00-D7E7-4D69-B39B-0C0E19A5EF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9527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7C4D00-D7E7-4D69-B39B-0C0E19A5EF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723525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3826333"/>
            <a:ext cx="10729912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EA02231-93A1-40C8-8F5A-9F790F0FC6C6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8801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1319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C192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8E39FA3-B35D-4B9F-9722-3C18538C5B31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95AD428-8414-48C5-B1AB-CF6A99B421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6128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5AD428-8414-48C5-B1AB-CF6A99B421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10729912" cy="3877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C87D0B7-62F2-4BD5-8418-246736FA69C7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F385C31-1387-475A-AE02-DB0432CEB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86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385C31-1387-475A-AE02-DB0432CEB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595828-5D05-477A-8F8C-7A7D97676249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DEB8B9C-75AF-4F4E-A27F-94AFD711AF12}"/>
              </a:ext>
            </a:extLst>
          </p:cNvPr>
          <p:cNvSpPr txBox="1"/>
          <p:nvPr userDrawn="1"/>
        </p:nvSpPr>
        <p:spPr>
          <a:xfrm>
            <a:off x="723524" y="2665939"/>
            <a:ext cx="2819776" cy="15857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000" b="1">
                <a:solidFill>
                  <a:schemeClr val="tx2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FB065EA-C706-4A32-99D0-1D7BA55EE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0612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B065EA-C706-4A32-99D0-1D7BA55EE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73B0505-6198-4037-B205-D1BF6B105B1E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7DEE8AE-4A5F-4944-A408-67E33DE28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971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DEE8AE-4A5F-4944-A408-67E33DE28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5B28DF6-881D-41A2-8105-43574BFE8EB1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4EBA4FA-D28F-4158-9ABB-C3B1A243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488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EBA4FA-D28F-4158-9ABB-C3B1A243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 txBox="1">
            <a:spLocks/>
          </p:cNvSpPr>
          <p:nvPr/>
        </p:nvSpPr>
        <p:spPr>
          <a:xfrm>
            <a:off x="723525" y="2993851"/>
            <a:ext cx="3383280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EF00151-9FC9-4206-A383-9D31F651E3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A45E70F-C53E-4DCC-B575-C99426365949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720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2">
            <a:extLst>
              <a:ext uri="{FF2B5EF4-FFF2-40B4-BE49-F238E27FC236}">
                <a16:creationId xmlns:a16="http://schemas.microsoft.com/office/drawing/2014/main" id="{3EEF3B67-96E7-4D69-942D-8D57ACB5C8FD}"/>
              </a:ext>
            </a:extLst>
          </p:cNvPr>
          <p:cNvSpPr/>
          <p:nvPr userDrawn="1"/>
        </p:nvSpPr>
        <p:spPr>
          <a:xfrm>
            <a:off x="0" y="0"/>
            <a:ext cx="12192000" cy="6115433"/>
          </a:xfrm>
          <a:custGeom>
            <a:avLst/>
            <a:gdLst>
              <a:gd name="connsiteX0" fmla="*/ 0 w 12192000"/>
              <a:gd name="connsiteY0" fmla="*/ 0 h 6115433"/>
              <a:gd name="connsiteX1" fmla="*/ 12192000 w 12192000"/>
              <a:gd name="connsiteY1" fmla="*/ 0 h 6115433"/>
              <a:gd name="connsiteX2" fmla="*/ 12192000 w 12192000"/>
              <a:gd name="connsiteY2" fmla="*/ 5633984 h 6115433"/>
              <a:gd name="connsiteX3" fmla="*/ 0 w 12192000"/>
              <a:gd name="connsiteY3" fmla="*/ 6115433 h 6115433"/>
              <a:gd name="connsiteX4" fmla="*/ 0 w 12192000"/>
              <a:gd name="connsiteY4" fmla="*/ 0 h 6115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115433">
                <a:moveTo>
                  <a:pt x="0" y="0"/>
                </a:moveTo>
                <a:lnTo>
                  <a:pt x="12192000" y="0"/>
                </a:lnTo>
                <a:lnTo>
                  <a:pt x="12192000" y="5633984"/>
                </a:lnTo>
                <a:lnTo>
                  <a:pt x="0" y="6115433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+mn-cs"/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983DDDAF-B431-4738-85E8-B6B04B13CCC9}"/>
              </a:ext>
            </a:extLst>
          </p:cNvPr>
          <p:cNvSpPr txBox="1">
            <a:spLocks/>
          </p:cNvSpPr>
          <p:nvPr userDrawn="1"/>
        </p:nvSpPr>
        <p:spPr>
          <a:xfrm>
            <a:off x="2366221" y="6289707"/>
            <a:ext cx="7988441" cy="23506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0" normalizeH="0" baseline="0" noProof="0">
                <a:ln>
                  <a:noFill/>
                </a:ln>
                <a:solidFill>
                  <a:srgbClr val="231F20">
                    <a:tint val="75000"/>
                  </a:srgbClr>
                </a:solidFill>
                <a:effectLst/>
                <a:uLnTx/>
                <a:uFillTx/>
                <a:latin typeface="Montserrat Light"/>
                <a:ea typeface="+mn-ea"/>
                <a:cs typeface="+mn-cs"/>
              </a:rPr>
              <a:t>|  Confidential – Internal Use Onl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A841816-C68C-439C-9C01-B7FE7806B7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74" y="6406785"/>
            <a:ext cx="1301939" cy="113872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504CFE14-87BA-4317-B0F9-14A1BC2616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9380" y="6070911"/>
            <a:ext cx="836116" cy="629401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323B9EB-1542-4130-AB03-B088E87D872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5045" y="2424129"/>
            <a:ext cx="10327013" cy="1066446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+mj-lt"/>
              </a:defRPr>
            </a:lvl1pPr>
            <a:lvl5pPr>
              <a:defRPr sz="1400"/>
            </a:lvl5pPr>
          </a:lstStyle>
          <a:p>
            <a:pPr lvl="0"/>
            <a:r>
              <a:rPr lang="en-US"/>
              <a:t>Thank You / Questions</a:t>
            </a:r>
          </a:p>
          <a:p>
            <a:pPr lvl="4"/>
            <a:endParaRPr lang="en-AU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156D3CA-40D2-4357-A0CF-6031D536FA7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0531" y="-6165"/>
            <a:ext cx="1535342" cy="1365445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 algn="l">
              <a:defRPr sz="1800" b="1">
                <a:solidFill>
                  <a:srgbClr val="FF0000"/>
                </a:solidFill>
                <a:latin typeface="+mj-lt"/>
              </a:defRPr>
            </a:lvl1pPr>
            <a:lvl5pPr algn="l">
              <a:defRPr b="1"/>
            </a:lvl5pPr>
          </a:lstStyle>
          <a:p>
            <a:pPr lvl="0"/>
            <a:r>
              <a:rPr lang="en-US"/>
              <a:t> </a:t>
            </a:r>
          </a:p>
          <a:p>
            <a:pPr lvl="4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47BBBBF-7115-4BE9-803A-A8C8ED862B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651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7BBBBF-7115-4BE9-803A-A8C8ED862B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5" name="Group 94">
            <a:extLst>
              <a:ext uri="{FF2B5EF4-FFF2-40B4-BE49-F238E27FC236}">
                <a16:creationId xmlns:a16="http://schemas.microsoft.com/office/drawing/2014/main" id="{F3066DBC-9C04-46DB-9A2C-61186F8D03F9}"/>
              </a:ext>
            </a:extLst>
          </p:cNvPr>
          <p:cNvGrpSpPr/>
          <p:nvPr userDrawn="1"/>
        </p:nvGrpSpPr>
        <p:grpSpPr>
          <a:xfrm>
            <a:off x="-600" y="-1"/>
            <a:ext cx="12193200" cy="6858001"/>
            <a:chOff x="-600" y="-1"/>
            <a:chExt cx="12193200" cy="6858001"/>
          </a:xfrm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70B564EB-620D-42C3-81F2-C81CF6383191}"/>
                </a:ext>
              </a:extLst>
            </p:cNvPr>
            <p:cNvSpPr/>
            <p:nvPr/>
          </p:nvSpPr>
          <p:spPr>
            <a:xfrm>
              <a:off x="0" y="-1"/>
              <a:ext cx="12192000" cy="6857999"/>
            </a:xfrm>
            <a:custGeom>
              <a:avLst/>
              <a:gdLst>
                <a:gd name="connsiteX0" fmla="*/ 723525 w 12192000"/>
                <a:gd name="connsiteY0" fmla="*/ 736798 h 6857999"/>
                <a:gd name="connsiteX1" fmla="*/ 723525 w 12192000"/>
                <a:gd name="connsiteY1" fmla="*/ 6359915 h 6857999"/>
                <a:gd name="connsiteX2" fmla="*/ 11453436 w 12192000"/>
                <a:gd name="connsiteY2" fmla="*/ 6359915 h 6857999"/>
                <a:gd name="connsiteX3" fmla="*/ 11453436 w 12192000"/>
                <a:gd name="connsiteY3" fmla="*/ 736798 h 6857999"/>
                <a:gd name="connsiteX4" fmla="*/ 0 w 12192000"/>
                <a:gd name="connsiteY4" fmla="*/ 0 h 6857999"/>
                <a:gd name="connsiteX5" fmla="*/ 12192000 w 12192000"/>
                <a:gd name="connsiteY5" fmla="*/ 0 h 6857999"/>
                <a:gd name="connsiteX6" fmla="*/ 12192000 w 12192000"/>
                <a:gd name="connsiteY6" fmla="*/ 6857999 h 6857999"/>
                <a:gd name="connsiteX7" fmla="*/ 0 w 12192000"/>
                <a:gd name="connsiteY7" fmla="*/ 6857999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6857999">
                  <a:moveTo>
                    <a:pt x="723525" y="736798"/>
                  </a:moveTo>
                  <a:lnTo>
                    <a:pt x="723525" y="6359915"/>
                  </a:lnTo>
                  <a:lnTo>
                    <a:pt x="11453436" y="6359915"/>
                  </a:lnTo>
                  <a:lnTo>
                    <a:pt x="11453436" y="736798"/>
                  </a:lnTo>
                  <a:close/>
                  <a:moveTo>
                    <a:pt x="0" y="0"/>
                  </a:moveTo>
                  <a:lnTo>
                    <a:pt x="12192000" y="0"/>
                  </a:lnTo>
                  <a:lnTo>
                    <a:pt x="12192000" y="6857999"/>
                  </a:lnTo>
                  <a:lnTo>
                    <a:pt x="0" y="6857999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97" name="Baselines / anchors">
              <a:extLst>
                <a:ext uri="{FF2B5EF4-FFF2-40B4-BE49-F238E27FC236}">
                  <a16:creationId xmlns:a16="http://schemas.microsoft.com/office/drawing/2014/main" id="{F39CFF0C-11BB-4F79-BBBD-B500A5925D65}"/>
                </a:ext>
              </a:extLst>
            </p:cNvPr>
            <p:cNvGrpSpPr/>
            <p:nvPr/>
          </p:nvGrpSpPr>
          <p:grpSpPr>
            <a:xfrm>
              <a:off x="-600" y="736798"/>
              <a:ext cx="12193200" cy="5207620"/>
              <a:chOff x="12623800" y="622800"/>
              <a:chExt cx="11176000" cy="553680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F814FDD0-6432-4806-A94F-52687B81378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B905E5DF-73E6-462E-8746-D31046CACEF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5F88717B-1916-4255-9375-2E075162DBB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BAE5D77C-75E6-412C-BAAE-3D701AF936B3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02778850-2DF8-4409-AFC4-DCD4C68E9D1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34ED9F28-8D62-4453-9AF6-CD4286FD299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6752DFFF-C616-45A2-BFA0-B81EB8D9D247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8191E52F-0B24-4135-83FE-9F14247CEF4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C5C338F-4325-45DD-8C07-DC65FC4DB8C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72DB4560-DD52-4E85-BADB-F8011F5AAE3B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E48DCDE8-AF83-4140-8E05-7D690A9F52D0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6FD4AAAB-15FB-48FA-91AA-3D42E4D9B1DE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E296A93A-EA25-4434-8793-8E73FA3A1A56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0ADFB6C-A352-45B4-B852-460ED09A8D6E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D64E5A31-D97B-4D64-859C-888A148E0C2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60EBA0E9-5198-47BF-8FEA-E615B09BBF61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94BD4D2-75A0-4DCD-AF3D-68E637C3994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6E8EC63B-4C6F-481C-9CEA-0B2E8082E0B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A967AC60-66C3-454B-808F-7A014A607B1A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3E02E164-737F-4296-82A8-E9A14DAFC4F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8" name="Gutter space">
              <a:extLst>
                <a:ext uri="{FF2B5EF4-FFF2-40B4-BE49-F238E27FC236}">
                  <a16:creationId xmlns:a16="http://schemas.microsoft.com/office/drawing/2014/main" id="{46847995-34A5-4524-ABE6-6B11694876B1}"/>
                </a:ext>
              </a:extLst>
            </p:cNvPr>
            <p:cNvGrpSpPr/>
            <p:nvPr/>
          </p:nvGrpSpPr>
          <p:grpSpPr>
            <a:xfrm>
              <a:off x="1277000" y="736798"/>
              <a:ext cx="9638000" cy="5207620"/>
              <a:chOff x="1277000" y="623550"/>
              <a:chExt cx="9638000" cy="5537047"/>
            </a:xfrm>
          </p:grpSpPr>
          <p:sp>
            <p:nvSpPr>
              <p:cNvPr id="110" name="Rectangle 34">
                <a:extLst>
                  <a:ext uri="{FF2B5EF4-FFF2-40B4-BE49-F238E27FC236}">
                    <a16:creationId xmlns:a16="http://schemas.microsoft.com/office/drawing/2014/main" id="{BDFA682A-5E8B-468D-8A5E-E42F3F8A29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5">
                <a:extLst>
                  <a:ext uri="{FF2B5EF4-FFF2-40B4-BE49-F238E27FC236}">
                    <a16:creationId xmlns:a16="http://schemas.microsoft.com/office/drawing/2014/main" id="{DD6797CC-5DA2-4682-94BD-1115CF964B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6">
                <a:extLst>
                  <a:ext uri="{FF2B5EF4-FFF2-40B4-BE49-F238E27FC236}">
                    <a16:creationId xmlns:a16="http://schemas.microsoft.com/office/drawing/2014/main" id="{C631ED0B-2D11-4A79-8497-A3D7014D14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7">
                <a:extLst>
                  <a:ext uri="{FF2B5EF4-FFF2-40B4-BE49-F238E27FC236}">
                    <a16:creationId xmlns:a16="http://schemas.microsoft.com/office/drawing/2014/main" id="{BCEB03E1-665A-464C-9F7D-503FB5E39F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8">
                <a:extLst>
                  <a:ext uri="{FF2B5EF4-FFF2-40B4-BE49-F238E27FC236}">
                    <a16:creationId xmlns:a16="http://schemas.microsoft.com/office/drawing/2014/main" id="{C8243CB1-64C1-458A-9D3F-3ED4C5169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39">
                <a:extLst>
                  <a:ext uri="{FF2B5EF4-FFF2-40B4-BE49-F238E27FC236}">
                    <a16:creationId xmlns:a16="http://schemas.microsoft.com/office/drawing/2014/main" id="{D7AB08D0-7936-4133-AD46-4553E43908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Rectangle 40">
                <a:extLst>
                  <a:ext uri="{FF2B5EF4-FFF2-40B4-BE49-F238E27FC236}">
                    <a16:creationId xmlns:a16="http://schemas.microsoft.com/office/drawing/2014/main" id="{F06F4CE0-BA08-47BA-B71A-A017690753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41">
                <a:extLst>
                  <a:ext uri="{FF2B5EF4-FFF2-40B4-BE49-F238E27FC236}">
                    <a16:creationId xmlns:a16="http://schemas.microsoft.com/office/drawing/2014/main" id="{5ED21F2B-C5D0-4F57-81F4-BF1C2AE1D0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42">
                <a:extLst>
                  <a:ext uri="{FF2B5EF4-FFF2-40B4-BE49-F238E27FC236}">
                    <a16:creationId xmlns:a16="http://schemas.microsoft.com/office/drawing/2014/main" id="{BFCEFE8C-7FC8-4F7B-A1EF-E55FDA6132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43">
                <a:extLst>
                  <a:ext uri="{FF2B5EF4-FFF2-40B4-BE49-F238E27FC236}">
                    <a16:creationId xmlns:a16="http://schemas.microsoft.com/office/drawing/2014/main" id="{99225965-46C1-4B3F-B723-458D071CA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44">
                <a:extLst>
                  <a:ext uri="{FF2B5EF4-FFF2-40B4-BE49-F238E27FC236}">
                    <a16:creationId xmlns:a16="http://schemas.microsoft.com/office/drawing/2014/main" id="{86B19C70-25B2-4C8F-8CC8-5AB6B80AA0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9" name="Slide edges">
              <a:extLst>
                <a:ext uri="{FF2B5EF4-FFF2-40B4-BE49-F238E27FC236}">
                  <a16:creationId xmlns:a16="http://schemas.microsoft.com/office/drawing/2014/main" id="{F3DFF64A-6985-4874-86B4-3712A6497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0" name="Footnote measure">
              <a:extLst>
                <a:ext uri="{FF2B5EF4-FFF2-40B4-BE49-F238E27FC236}">
                  <a16:creationId xmlns:a16="http://schemas.microsoft.com/office/drawing/2014/main" id="{9B81ED2D-4525-4BD8-A4F0-68F476C24C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526" y="5944417"/>
              <a:ext cx="10729913" cy="41549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Whitespace measure">
              <a:extLst>
                <a:ext uri="{FF2B5EF4-FFF2-40B4-BE49-F238E27FC236}">
                  <a16:creationId xmlns:a16="http://schemas.microsoft.com/office/drawing/2014/main" id="{ED0BAB40-85DF-4AB3-9B2D-454001E17C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525" y="1718631"/>
              <a:ext cx="10729913" cy="14591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2" name="Five column measure">
              <a:extLst>
                <a:ext uri="{FF2B5EF4-FFF2-40B4-BE49-F238E27FC236}">
                  <a16:creationId xmlns:a16="http://schemas.microsoft.com/office/drawing/2014/main" id="{DE3A0D27-1FA7-4FA8-803D-9B0CFE443753}"/>
                </a:ext>
              </a:extLst>
            </p:cNvPr>
            <p:cNvGrpSpPr/>
            <p:nvPr/>
          </p:nvGrpSpPr>
          <p:grpSpPr>
            <a:xfrm>
              <a:off x="723525" y="5797322"/>
              <a:ext cx="10729911" cy="79536"/>
              <a:chOff x="629400" y="5975122"/>
              <a:chExt cx="10933200" cy="79536"/>
            </a:xfrm>
          </p:grpSpPr>
          <p:sp>
            <p:nvSpPr>
              <p:cNvPr id="105" name="Rectangle 5">
                <a:extLst>
                  <a:ext uri="{FF2B5EF4-FFF2-40B4-BE49-F238E27FC236}">
                    <a16:creationId xmlns:a16="http://schemas.microsoft.com/office/drawing/2014/main" id="{43D1C79A-346E-4056-8691-4B28F79969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7">
                <a:extLst>
                  <a:ext uri="{FF2B5EF4-FFF2-40B4-BE49-F238E27FC236}">
                    <a16:creationId xmlns:a16="http://schemas.microsoft.com/office/drawing/2014/main" id="{0D494BB7-4891-4CB2-9EA8-8EAB734530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9">
                <a:extLst>
                  <a:ext uri="{FF2B5EF4-FFF2-40B4-BE49-F238E27FC236}">
                    <a16:creationId xmlns:a16="http://schemas.microsoft.com/office/drawing/2014/main" id="{AA9A616E-8454-459A-BDFB-5FE1F72612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11">
                <a:extLst>
                  <a:ext uri="{FF2B5EF4-FFF2-40B4-BE49-F238E27FC236}">
                    <a16:creationId xmlns:a16="http://schemas.microsoft.com/office/drawing/2014/main" id="{53B54321-618D-4E72-868B-1364C62340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13">
                <a:extLst>
                  <a:ext uri="{FF2B5EF4-FFF2-40B4-BE49-F238E27FC236}">
                    <a16:creationId xmlns:a16="http://schemas.microsoft.com/office/drawing/2014/main" id="{1209D243-E6FF-435B-803C-61F3E4D78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3" name="Live area">
              <a:extLst>
                <a:ext uri="{FF2B5EF4-FFF2-40B4-BE49-F238E27FC236}">
                  <a16:creationId xmlns:a16="http://schemas.microsoft.com/office/drawing/2014/main" id="{541170F4-BF44-43FA-B8EB-9E3AA9DB382A}"/>
                </a:ext>
              </a:extLst>
            </p:cNvPr>
            <p:cNvSpPr/>
            <p:nvPr/>
          </p:nvSpPr>
          <p:spPr>
            <a:xfrm>
              <a:off x="723526" y="1864544"/>
              <a:ext cx="10729913" cy="4079874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04" name="Footnote example">
              <a:extLst>
                <a:ext uri="{FF2B5EF4-FFF2-40B4-BE49-F238E27FC236}">
                  <a16:creationId xmlns:a16="http://schemas.microsoft.com/office/drawing/2014/main" id="{DC475CB0-A39B-42F9-8CC9-062D7A641473}"/>
                </a:ext>
              </a:extLst>
            </p:cNvPr>
            <p:cNvSpPr txBox="1"/>
            <p:nvPr/>
          </p:nvSpPr>
          <p:spPr>
            <a:xfrm>
              <a:off x="723525" y="5944417"/>
              <a:ext cx="979034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A6A6A6"/>
                  </a:solidFill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A6A6A6"/>
                  </a:solidFill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A6A6A6"/>
                  </a:solidFill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8956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58444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04765" y="1115416"/>
            <a:ext cx="2898550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0F56B78-E859-4E7D-B150-B8483C6C2AA2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30A668F-80A0-4EE3-80DA-6F33A2FFE5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5552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0A668F-80A0-4EE3-80DA-6F33A2FFE5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23525" y="3826800"/>
            <a:ext cx="10843275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723525" y="3680016"/>
            <a:ext cx="1147167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087BF17-BAFA-41A3-92DC-6EADFEC400EF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9737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AE45826-7EB4-4BC0-928C-870457A84A8A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652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6281C1-8679-4869-8045-F5E170D32419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01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3525" y="3235101"/>
            <a:ext cx="1453618" cy="3877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 b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77CE061-93E7-4650-83B2-77770ECA4232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5548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58444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04765" y="1115416"/>
            <a:ext cx="2898550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>
                <a:solidFill>
                  <a:schemeClr val="tx2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ED90B2E-E876-4A85-92AE-2CC9AEB343FE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170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99EFDB-A4CA-49DE-8990-AB80020515BE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050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tx2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FDE98F-EFDC-4B5A-B2BC-E7610F51202B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8340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23525" y="3235101"/>
            <a:ext cx="1407437" cy="38779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 b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D773B3A-D97C-45F1-AE9E-8C9C7BAC04F3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400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3524" y="2665939"/>
            <a:ext cx="2819776" cy="15857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000" b="1">
                <a:solidFill>
                  <a:schemeClr val="tx2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77586F9-38A0-41BA-989F-03DA926B7881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6EDAE88-72F9-4DC6-9C8A-5E2944E360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613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EDAE88-72F9-4DC6-9C8A-5E2944E36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723525" y="2681103"/>
            <a:ext cx="3034356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F1425B7-4952-4536-BA20-07CF8C3DBD3C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BC92E19-1805-4CBB-842D-B0298A4E99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343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C92E19-1805-4CBB-842D-B0298A4E9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723525" y="736798"/>
            <a:ext cx="6163275" cy="387798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1" i="0" u="none" kern="1200" spc="0">
                <a:solidFill>
                  <a:srgbClr val="FC192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CD12FF6-3F87-4B1E-8154-1895C581D746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FC1921"/>
            </a:gs>
            <a:gs pos="100000">
              <a:srgbClr val="890207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029FC1-7515-456D-843D-3AA677296B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860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029FC1-7515-456D-843D-3AA677296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723525" y="2681103"/>
            <a:ext cx="3034356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B349A28-E6F0-4E16-80EF-38F5070F8A75}"/>
              </a:ext>
            </a:extLst>
          </p:cNvPr>
          <p:cNvSpPr txBox="1">
            <a:spLocks/>
          </p:cNvSpPr>
          <p:nvPr userDrawn="1"/>
        </p:nvSpPr>
        <p:spPr>
          <a:xfrm>
            <a:off x="730250" y="6323954"/>
            <a:ext cx="297710" cy="20126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2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B916B-55F2-4A6B-BCF8-09E073F77D34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2002449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23526" y="736798"/>
            <a:ext cx="10729911" cy="3877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23525" y="1864544"/>
            <a:ext cx="10729912" cy="4079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83" r:id="rId3"/>
    <p:sldLayoutId id="2147485158" r:id="rId4"/>
    <p:sldLayoutId id="2147485113" r:id="rId5"/>
    <p:sldLayoutId id="2147485114" r:id="rId6"/>
    <p:sldLayoutId id="2147485154" r:id="rId7"/>
    <p:sldLayoutId id="2147485162" r:id="rId8"/>
    <p:sldLayoutId id="2147485149" r:id="rId9"/>
    <p:sldLayoutId id="2147485087" r:id="rId10"/>
    <p:sldLayoutId id="2147485112" r:id="rId11"/>
    <p:sldLayoutId id="2147485155" r:id="rId12"/>
    <p:sldLayoutId id="2147485164" r:id="rId13"/>
    <p:sldLayoutId id="2147485109" r:id="rId14"/>
    <p:sldLayoutId id="2147485165" r:id="rId15"/>
    <p:sldLayoutId id="2147485110" r:id="rId16"/>
    <p:sldLayoutId id="2147485166" r:id="rId17"/>
    <p:sldLayoutId id="2147485156" r:id="rId18"/>
    <p:sldLayoutId id="2147485167" r:id="rId19"/>
    <p:sldLayoutId id="2147485108" r:id="rId20"/>
    <p:sldLayoutId id="2147485107" r:id="rId21"/>
    <p:sldLayoutId id="2147485106" r:id="rId22"/>
    <p:sldLayoutId id="2147485090" r:id="rId23"/>
    <p:sldLayoutId id="2147485091" r:id="rId24"/>
    <p:sldLayoutId id="2147485092" r:id="rId25"/>
    <p:sldLayoutId id="2147485093" r:id="rId26"/>
    <p:sldLayoutId id="2147485116" r:id="rId27"/>
    <p:sldLayoutId id="2147485161" r:id="rId28"/>
    <p:sldLayoutId id="2147485159" r:id="rId29"/>
    <p:sldLayoutId id="2147485119" r:id="rId30"/>
    <p:sldLayoutId id="2147485184" r:id="rId31"/>
    <p:sldLayoutId id="2147485137" r:id="rId32"/>
    <p:sldLayoutId id="2147485120" r:id="rId33"/>
    <p:sldLayoutId id="2147485121" r:id="rId34"/>
    <p:sldLayoutId id="2147485141" r:id="rId35"/>
    <p:sldLayoutId id="2147485163" r:id="rId36"/>
    <p:sldLayoutId id="2147485139" r:id="rId37"/>
    <p:sldLayoutId id="2147485140" r:id="rId38"/>
    <p:sldLayoutId id="2147485122" r:id="rId39"/>
    <p:sldLayoutId id="2147485123" r:id="rId40"/>
    <p:sldLayoutId id="2147485151" r:id="rId41"/>
    <p:sldLayoutId id="2147485168" r:id="rId42"/>
    <p:sldLayoutId id="2147485127" r:id="rId43"/>
    <p:sldLayoutId id="2147485169" r:id="rId44"/>
    <p:sldLayoutId id="2147485126" r:id="rId45"/>
    <p:sldLayoutId id="2147485170" r:id="rId46"/>
    <p:sldLayoutId id="2147485153" r:id="rId47"/>
    <p:sldLayoutId id="2147485171" r:id="rId48"/>
    <p:sldLayoutId id="2147485128" r:id="rId49"/>
    <p:sldLayoutId id="2147485129" r:id="rId50"/>
    <p:sldLayoutId id="2147485130" r:id="rId51"/>
    <p:sldLayoutId id="2147485131" r:id="rId52"/>
    <p:sldLayoutId id="2147485145" r:id="rId53"/>
    <p:sldLayoutId id="2147485133" r:id="rId54"/>
    <p:sldLayoutId id="2147485144" r:id="rId55"/>
    <p:sldLayoutId id="2147485134" r:id="rId56"/>
    <p:sldLayoutId id="2147485146" r:id="rId57"/>
    <p:sldLayoutId id="2147485160" r:id="rId58"/>
    <p:sldLayoutId id="2147485172" r:id="rId59"/>
    <p:sldLayoutId id="2147485173" r:id="rId60"/>
    <p:sldLayoutId id="2147485174" r:id="rId61"/>
    <p:sldLayoutId id="2147485175" r:id="rId62"/>
    <p:sldLayoutId id="2147485176" r:id="rId63"/>
    <p:sldLayoutId id="2147485177" r:id="rId64"/>
    <p:sldLayoutId id="2147485178" r:id="rId65"/>
    <p:sldLayoutId id="2147485179" r:id="rId66"/>
    <p:sldLayoutId id="2147485180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FC192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FC1921"/>
        </a:buClr>
        <a:buFont typeface="Arial" panose="020B0604020202020204" pitchFamily="34" charset="0"/>
        <a:buChar char="​"/>
        <a:defRPr lang="en-US" sz="1200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FC1921"/>
        </a:buClr>
        <a:buFont typeface="Arial" panose="020B0604020202020204" pitchFamily="34" charset="0"/>
        <a:buChar char="•"/>
        <a:defRPr lang="en-US" sz="1200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649224" indent="-219456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FC1921"/>
        </a:buClr>
        <a:buFont typeface="Montserrat Light" panose="00000400000000000000" pitchFamily="2" charset="0"/>
        <a:buChar char="–"/>
        <a:defRPr lang="en-US" sz="1200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FC1921"/>
        </a:buClr>
        <a:buFont typeface="Arial" panose="020B0604020202020204" pitchFamily="34" charset="0"/>
        <a:buChar char="​"/>
        <a:defRPr lang="en-US" sz="1600" b="1" kern="1200">
          <a:solidFill>
            <a:srgbClr val="FC1921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FC1921"/>
        </a:buClr>
        <a:buFont typeface="Arial" panose="020B0604020202020204" pitchFamily="34" charset="0"/>
        <a:buChar char="​"/>
        <a:defRPr lang="en-US" sz="1600" b="1" kern="120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FC1921"/>
        </a:buClr>
        <a:buFont typeface="Arial" panose="020B0604020202020204" pitchFamily="34" charset="0"/>
        <a:buChar char="•"/>
        <a:defRPr lang="en-US" sz="1600" kern="120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FC1921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FC1921"/>
        </a:buClr>
        <a:buFont typeface="Arial" panose="020B0604020202020204" pitchFamily="34" charset="0"/>
        <a:buChar char="​"/>
        <a:defRPr lang="en-US" sz="5400" b="1" kern="1200" baseline="0" smtClean="0">
          <a:solidFill>
            <a:srgbClr val="FC1921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FC1921"/>
        </a:buClr>
        <a:buFont typeface="Arial" panose="020B0604020202020204" pitchFamily="34" charset="0"/>
        <a:buChar char="​"/>
        <a:defRPr lang="en-US" sz="2400" b="1" kern="1200" baseline="0" dirty="0">
          <a:solidFill>
            <a:srgbClr val="FC1921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6" userDrawn="1">
          <p15:clr>
            <a:srgbClr val="F26B43"/>
          </p15:clr>
        </p15:guide>
        <p15:guide id="2" pos="456" userDrawn="1">
          <p15:clr>
            <a:srgbClr val="F26B43"/>
          </p15:clr>
        </p15:guide>
        <p15:guide id="3" pos="7224" userDrawn="1">
          <p15:clr>
            <a:srgbClr val="F26B43"/>
          </p15:clr>
        </p15:guide>
        <p15:guide id="4" orient="horz" pos="37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A3DBF6C-ED3D-1CB4-F96E-B32654F0E8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DBF6C-ED3D-1CB4-F96E-B32654F0E8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7C2C3E-9A73-5910-DC72-CECBAF32B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525" y="736798"/>
            <a:ext cx="10729912" cy="387798"/>
          </a:xfrm>
        </p:spPr>
        <p:txBody>
          <a:bodyPr vert="horz"/>
          <a:lstStyle/>
          <a:p>
            <a:r>
              <a:rPr lang="en-US" dirty="0"/>
              <a:t>Changeover process map | </a:t>
            </a:r>
            <a:r>
              <a:rPr lang="en-US" b="0" dirty="0">
                <a:solidFill>
                  <a:srgbClr val="231F20"/>
                </a:solidFill>
              </a:rPr>
              <a:t>future state (1/2)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8FBFD5-0187-4E67-9258-83011B80575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3900" y="1230313"/>
            <a:ext cx="10728325" cy="276225"/>
          </a:xfrm>
        </p:spPr>
        <p:txBody>
          <a:bodyPr lIns="18288" tIns="18288" rIns="18288" bIns="18288"/>
          <a:lstStyle/>
          <a:p>
            <a:r>
              <a:rPr lang="en-US" dirty="0"/>
              <a:t>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175C88-CA49-411A-BC3F-504BBEDE6EED}"/>
              </a:ext>
            </a:extLst>
          </p:cNvPr>
          <p:cNvSpPr/>
          <p:nvPr/>
        </p:nvSpPr>
        <p:spPr>
          <a:xfrm>
            <a:off x="723525" y="1181099"/>
            <a:ext cx="380033" cy="161925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rgbClr val="FFFFFF"/>
                </a:solidFill>
              </a:rPr>
              <a:t>Star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9EC132-9947-4EF5-9532-6982135966BC}"/>
              </a:ext>
            </a:extLst>
          </p:cNvPr>
          <p:cNvCxnSpPr>
            <a:cxnSpLocks/>
            <a:stCxn id="3" idx="3"/>
          </p:cNvCxnSpPr>
          <p:nvPr/>
        </p:nvCxnSpPr>
        <p:spPr>
          <a:xfrm flipV="1">
            <a:off x="1103558" y="1245434"/>
            <a:ext cx="10349878" cy="16628"/>
          </a:xfrm>
          <a:prstGeom prst="line">
            <a:avLst/>
          </a:prstGeom>
          <a:ln w="9525" cap="rnd">
            <a:solidFill>
              <a:schemeClr val="tx1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E587D81E-C263-408C-91C3-D08C0471A356}"/>
              </a:ext>
            </a:extLst>
          </p:cNvPr>
          <p:cNvSpPr/>
          <p:nvPr/>
        </p:nvSpPr>
        <p:spPr>
          <a:xfrm>
            <a:off x="723525" y="1412616"/>
            <a:ext cx="665221" cy="733967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ASO 1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AB4B9B-A3D4-4EF4-BE21-8ACBAE896EF2}"/>
              </a:ext>
            </a:extLst>
          </p:cNvPr>
          <p:cNvSpPr/>
          <p:nvPr/>
        </p:nvSpPr>
        <p:spPr>
          <a:xfrm>
            <a:off x="723525" y="2984762"/>
            <a:ext cx="665221" cy="7339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Filler Techni-</a:t>
            </a:r>
            <a:r>
              <a:rPr lang="en-US" sz="1200" dirty="0" err="1">
                <a:solidFill>
                  <a:srgbClr val="FFFFFF"/>
                </a:solidFill>
              </a:rPr>
              <a:t>cian</a:t>
            </a:r>
            <a:r>
              <a:rPr lang="en-US" sz="1200" dirty="0">
                <a:solidFill>
                  <a:srgbClr val="FFFFFF"/>
                </a:solidFill>
              </a:rPr>
              <a:t> 1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52E0BD3-177E-4449-A094-8C026BFA769E}"/>
              </a:ext>
            </a:extLst>
          </p:cNvPr>
          <p:cNvSpPr/>
          <p:nvPr/>
        </p:nvSpPr>
        <p:spPr>
          <a:xfrm>
            <a:off x="723525" y="3770835"/>
            <a:ext cx="665221" cy="7339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Filler Techni-</a:t>
            </a:r>
            <a:r>
              <a:rPr lang="en-US" sz="1200" dirty="0" err="1">
                <a:solidFill>
                  <a:srgbClr val="FFFFFF"/>
                </a:solidFill>
              </a:rPr>
              <a:t>cian</a:t>
            </a:r>
            <a:r>
              <a:rPr lang="en-US" sz="1200" dirty="0">
                <a:solidFill>
                  <a:srgbClr val="FFFFFF"/>
                </a:solidFill>
              </a:rPr>
              <a:t> 2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E114F31-9E16-4964-A349-D3C62C38A33E}"/>
              </a:ext>
            </a:extLst>
          </p:cNvPr>
          <p:cNvSpPr/>
          <p:nvPr/>
        </p:nvSpPr>
        <p:spPr>
          <a:xfrm>
            <a:off x="723525" y="4556908"/>
            <a:ext cx="665221" cy="733967"/>
          </a:xfrm>
          <a:prstGeom prst="rect">
            <a:avLst/>
          </a:prstGeom>
          <a:solidFill>
            <a:srgbClr val="0E56A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QAO / Super-visor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D3A4F6C-0E01-43CC-8B17-5BDDF0543D3B}"/>
              </a:ext>
            </a:extLst>
          </p:cNvPr>
          <p:cNvSpPr/>
          <p:nvPr/>
        </p:nvSpPr>
        <p:spPr>
          <a:xfrm>
            <a:off x="1444712" y="4556910"/>
            <a:ext cx="665221" cy="733967"/>
          </a:xfrm>
          <a:prstGeom prst="rect">
            <a:avLst/>
          </a:prstGeom>
          <a:noFill/>
          <a:ln w="9525" cap="rnd" cmpd="sng" algn="ctr">
            <a:solidFill>
              <a:srgbClr val="0E56A5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Notified of machine availability time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69F8568-9A9D-452D-A239-A52383996F0F}"/>
              </a:ext>
            </a:extLst>
          </p:cNvPr>
          <p:cNvSpPr/>
          <p:nvPr/>
        </p:nvSpPr>
        <p:spPr>
          <a:xfrm>
            <a:off x="723525" y="5342983"/>
            <a:ext cx="665221" cy="733967"/>
          </a:xfrm>
          <a:prstGeom prst="rect">
            <a:avLst/>
          </a:prstGeom>
          <a:solidFill>
            <a:srgbClr val="F1EFE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spc="-30">
                <a:solidFill>
                  <a:srgbClr val="231F20"/>
                </a:solidFill>
              </a:rPr>
              <a:t>Support (incl. support to clean isolator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CECCC30-A91A-CD38-8550-47585E69BA71}"/>
              </a:ext>
            </a:extLst>
          </p:cNvPr>
          <p:cNvSpPr/>
          <p:nvPr/>
        </p:nvSpPr>
        <p:spPr>
          <a:xfrm>
            <a:off x="723525" y="2198689"/>
            <a:ext cx="665221" cy="733967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ASO 2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DB7681CD-F005-4039-B465-7D2D061E0291}"/>
              </a:ext>
            </a:extLst>
          </p:cNvPr>
          <p:cNvCxnSpPr/>
          <p:nvPr/>
        </p:nvCxnSpPr>
        <p:spPr>
          <a:xfrm>
            <a:off x="723900" y="5316928"/>
            <a:ext cx="1072991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0D6BED9-D0B2-4DD1-BFF4-5D49AFD677D7}"/>
              </a:ext>
            </a:extLst>
          </p:cNvPr>
          <p:cNvCxnSpPr/>
          <p:nvPr/>
        </p:nvCxnSpPr>
        <p:spPr>
          <a:xfrm>
            <a:off x="723900" y="4530855"/>
            <a:ext cx="1072991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B1E5B20-B3C7-4EAC-9264-1668001A7252}"/>
              </a:ext>
            </a:extLst>
          </p:cNvPr>
          <p:cNvCxnSpPr/>
          <p:nvPr/>
        </p:nvCxnSpPr>
        <p:spPr>
          <a:xfrm>
            <a:off x="723900" y="3744782"/>
            <a:ext cx="1072991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A63FE6DB-07A4-45DE-B41F-9F1BAC18D0EA}"/>
              </a:ext>
            </a:extLst>
          </p:cNvPr>
          <p:cNvCxnSpPr/>
          <p:nvPr/>
        </p:nvCxnSpPr>
        <p:spPr>
          <a:xfrm>
            <a:off x="723900" y="2958709"/>
            <a:ext cx="1072991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5B9D55F-6D6B-4B4C-94D4-649E27147A7B}"/>
              </a:ext>
            </a:extLst>
          </p:cNvPr>
          <p:cNvCxnSpPr/>
          <p:nvPr/>
        </p:nvCxnSpPr>
        <p:spPr>
          <a:xfrm>
            <a:off x="723900" y="2172636"/>
            <a:ext cx="1072991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794A96F0-EE1E-44C9-8DFA-644A2CDCDE32}"/>
              </a:ext>
            </a:extLst>
          </p:cNvPr>
          <p:cNvSpPr/>
          <p:nvPr/>
        </p:nvSpPr>
        <p:spPr>
          <a:xfrm>
            <a:off x="10391624" y="1412616"/>
            <a:ext cx="5029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Seal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door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and start SCADA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BA03FCF-96D1-4B3F-A462-0E5D6DCF3312}"/>
              </a:ext>
            </a:extLst>
          </p:cNvPr>
          <p:cNvSpPr/>
          <p:nvPr/>
        </p:nvSpPr>
        <p:spPr>
          <a:xfrm>
            <a:off x="10950516" y="1412616"/>
            <a:ext cx="5029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Assist in VHP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Sign-off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4F22A19-B2A1-4381-B295-068C8465E35D}"/>
              </a:ext>
            </a:extLst>
          </p:cNvPr>
          <p:cNvSpPr/>
          <p:nvPr/>
        </p:nvSpPr>
        <p:spPr>
          <a:xfrm>
            <a:off x="2165899" y="4556910"/>
            <a:ext cx="502920" cy="733967"/>
          </a:xfrm>
          <a:prstGeom prst="rect">
            <a:avLst/>
          </a:prstGeom>
          <a:noFill/>
          <a:ln w="9525" cap="rnd" cmpd="sng" algn="ctr">
            <a:solidFill>
              <a:srgbClr val="0E56A5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spc="-20">
                <a:solidFill>
                  <a:srgbClr val="231F20"/>
                </a:solidFill>
              </a:rPr>
              <a:t>Reconcile</a:t>
            </a:r>
            <a:r>
              <a:rPr lang="en-US" sz="600">
                <a:solidFill>
                  <a:srgbClr val="231F20"/>
                </a:solidFill>
              </a:rPr>
              <a:t> EOF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 b="1">
              <a:solidFill>
                <a:srgbClr val="231F20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FAA1E7F-7AF4-4926-8781-0AD6331A91FA}"/>
              </a:ext>
            </a:extLst>
          </p:cNvPr>
          <p:cNvSpPr/>
          <p:nvPr/>
        </p:nvSpPr>
        <p:spPr>
          <a:xfrm>
            <a:off x="10950516" y="4556910"/>
            <a:ext cx="502920" cy="733967"/>
          </a:xfrm>
          <a:prstGeom prst="rect">
            <a:avLst/>
          </a:prstGeom>
          <a:noFill/>
          <a:ln w="9525" cap="rnd" cmpd="sng" algn="ctr">
            <a:solidFill>
              <a:srgbClr val="0E56A5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VHP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sign off 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 b="1">
              <a:solidFill>
                <a:srgbClr val="231F20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B2DC2D8-3054-460C-BB3F-A442861E51A1}"/>
              </a:ext>
            </a:extLst>
          </p:cNvPr>
          <p:cNvSpPr/>
          <p:nvPr/>
        </p:nvSpPr>
        <p:spPr>
          <a:xfrm>
            <a:off x="10391624" y="2198690"/>
            <a:ext cx="5029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Seal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door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and start SCADA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A2419AB-B001-4D6A-A573-949D2AAB81F0}"/>
              </a:ext>
            </a:extLst>
          </p:cNvPr>
          <p:cNvSpPr/>
          <p:nvPr/>
        </p:nvSpPr>
        <p:spPr>
          <a:xfrm>
            <a:off x="10950516" y="2198690"/>
            <a:ext cx="5029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Assist in VHP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Sign-off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9DCBAE7-9B5C-49E9-98C4-5EF6EABA7508}"/>
              </a:ext>
            </a:extLst>
          </p:cNvPr>
          <p:cNvSpPr/>
          <p:nvPr/>
        </p:nvSpPr>
        <p:spPr>
          <a:xfrm>
            <a:off x="2369358" y="1412616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rgbClr val="231F20"/>
                </a:solidFill>
              </a:rPr>
              <a:t>Remove</a:t>
            </a:r>
            <a:br>
              <a:rPr lang="en-US" sz="600" dirty="0">
                <a:solidFill>
                  <a:srgbClr val="231F20"/>
                </a:solidFill>
              </a:rPr>
            </a:br>
            <a:r>
              <a:rPr lang="en-US" sz="600" dirty="0">
                <a:solidFill>
                  <a:srgbClr val="231F20"/>
                </a:solidFill>
              </a:rPr>
              <a:t>Fill Assembly</a:t>
            </a:r>
          </a:p>
          <a:p>
            <a:pPr algn="ctr"/>
            <a:r>
              <a:rPr lang="en-US" sz="600" b="1" dirty="0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09F3603C-506D-489A-A71E-B412E728A968}"/>
              </a:ext>
            </a:extLst>
          </p:cNvPr>
          <p:cNvSpPr/>
          <p:nvPr/>
        </p:nvSpPr>
        <p:spPr>
          <a:xfrm>
            <a:off x="3761450" y="1412616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rgbClr val="231F20"/>
                </a:solidFill>
              </a:rPr>
              <a:t>Remove format</a:t>
            </a:r>
            <a:br>
              <a:rPr lang="en-US" sz="600" dirty="0">
                <a:solidFill>
                  <a:srgbClr val="231F20"/>
                </a:solidFill>
              </a:rPr>
            </a:br>
            <a:r>
              <a:rPr lang="en-US" sz="600" dirty="0">
                <a:solidFill>
                  <a:srgbClr val="231F20"/>
                </a:solidFill>
              </a:rPr>
              <a:t>parts</a:t>
            </a:r>
            <a:br>
              <a:rPr lang="en-US" sz="600" dirty="0">
                <a:solidFill>
                  <a:srgbClr val="231F20"/>
                </a:solidFill>
              </a:rPr>
            </a:br>
            <a:r>
              <a:rPr lang="en-US" sz="600" dirty="0">
                <a:solidFill>
                  <a:srgbClr val="231F20"/>
                </a:solidFill>
              </a:rPr>
              <a:t>from Capper</a:t>
            </a:r>
          </a:p>
          <a:p>
            <a:pPr algn="ctr"/>
            <a:r>
              <a:rPr lang="en-US" sz="600" b="1" dirty="0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D434676D-1FAF-47C4-831A-E7007F6A889C}"/>
              </a:ext>
            </a:extLst>
          </p:cNvPr>
          <p:cNvSpPr/>
          <p:nvPr/>
        </p:nvSpPr>
        <p:spPr>
          <a:xfrm>
            <a:off x="4366056" y="1412616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rgbClr val="231F20"/>
                </a:solidFill>
              </a:rPr>
              <a:t>Capper</a:t>
            </a:r>
            <a:br>
              <a:rPr lang="en-US" sz="600" dirty="0">
                <a:solidFill>
                  <a:srgbClr val="231F20"/>
                </a:solidFill>
              </a:rPr>
            </a:br>
            <a:r>
              <a:rPr lang="en-US" sz="600" dirty="0">
                <a:solidFill>
                  <a:srgbClr val="231F20"/>
                </a:solidFill>
              </a:rPr>
              <a:t>C/O</a:t>
            </a:r>
          </a:p>
          <a:p>
            <a:pPr algn="ctr"/>
            <a:r>
              <a:rPr lang="en-US" sz="600" b="1" dirty="0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B1AED0D-2798-48BD-9287-1DF4271A43BD}"/>
              </a:ext>
            </a:extLst>
          </p:cNvPr>
          <p:cNvSpPr/>
          <p:nvPr/>
        </p:nvSpPr>
        <p:spPr>
          <a:xfrm>
            <a:off x="9787018" y="1412616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Finalize VHP prep work (e.g. sic sensor barriers)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91899D1-E2D3-4434-BB22-1A7DEE0B8B4C}"/>
              </a:ext>
            </a:extLst>
          </p:cNvPr>
          <p:cNvSpPr/>
          <p:nvPr/>
        </p:nvSpPr>
        <p:spPr>
          <a:xfrm>
            <a:off x="2369358" y="2984763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Remove Fill Assembly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48F05AD6-0CDC-4C08-8205-AFEF852D2135}"/>
              </a:ext>
            </a:extLst>
          </p:cNvPr>
          <p:cNvSpPr/>
          <p:nvPr/>
        </p:nvSpPr>
        <p:spPr>
          <a:xfrm>
            <a:off x="2369358" y="2198690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Remove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Fill Assembly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421A833-BDA1-4B52-B141-812356B9325F}"/>
              </a:ext>
            </a:extLst>
          </p:cNvPr>
          <p:cNvSpPr/>
          <p:nvPr/>
        </p:nvSpPr>
        <p:spPr>
          <a:xfrm>
            <a:off x="3761450" y="2198690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rgbClr val="231F20"/>
                </a:solidFill>
              </a:rPr>
              <a:t>Remove format</a:t>
            </a:r>
            <a:br>
              <a:rPr lang="en-US" sz="600" dirty="0">
                <a:solidFill>
                  <a:srgbClr val="231F20"/>
                </a:solidFill>
              </a:rPr>
            </a:br>
            <a:r>
              <a:rPr lang="en-US" sz="600" dirty="0">
                <a:solidFill>
                  <a:srgbClr val="231F20"/>
                </a:solidFill>
              </a:rPr>
              <a:t>parts</a:t>
            </a:r>
            <a:br>
              <a:rPr lang="en-US" sz="600" dirty="0">
                <a:solidFill>
                  <a:srgbClr val="231F20"/>
                </a:solidFill>
              </a:rPr>
            </a:br>
            <a:r>
              <a:rPr lang="en-US" sz="600" dirty="0">
                <a:solidFill>
                  <a:srgbClr val="231F20"/>
                </a:solidFill>
              </a:rPr>
              <a:t>from Capper</a:t>
            </a:r>
          </a:p>
          <a:p>
            <a:pPr algn="ctr"/>
            <a:r>
              <a:rPr lang="en-US" sz="600" b="1" dirty="0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4FA6275-C270-490A-80E3-16613E7B1676}"/>
              </a:ext>
            </a:extLst>
          </p:cNvPr>
          <p:cNvSpPr/>
          <p:nvPr/>
        </p:nvSpPr>
        <p:spPr>
          <a:xfrm>
            <a:off x="4366056" y="2198690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Capper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C/O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9A40ACD-7DFC-4B0A-963A-A59583B83068}"/>
              </a:ext>
            </a:extLst>
          </p:cNvPr>
          <p:cNvSpPr/>
          <p:nvPr/>
        </p:nvSpPr>
        <p:spPr>
          <a:xfrm>
            <a:off x="9787018" y="2198690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Finalize VHP prep work (e.g. sic sensor barriers)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E8A34142-D2A5-4E0D-93DE-C24508B7DE96}"/>
              </a:ext>
            </a:extLst>
          </p:cNvPr>
          <p:cNvSpPr/>
          <p:nvPr/>
        </p:nvSpPr>
        <p:spPr>
          <a:xfrm>
            <a:off x="8440645" y="2984763"/>
            <a:ext cx="5943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Pre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fill Glove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IT test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15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 b="1">
              <a:solidFill>
                <a:srgbClr val="231F20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CDBA4BEA-9B0E-49F9-A66F-BF6748DA62A9}"/>
              </a:ext>
            </a:extLst>
          </p:cNvPr>
          <p:cNvSpPr/>
          <p:nvPr/>
        </p:nvSpPr>
        <p:spPr>
          <a:xfrm>
            <a:off x="9875917" y="2984763"/>
            <a:ext cx="5943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Pre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fill Glove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IT test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15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 b="1">
              <a:solidFill>
                <a:srgbClr val="231F20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26D65EA6-4D88-4B17-99E5-D9DA36FF49C8}"/>
              </a:ext>
            </a:extLst>
          </p:cNvPr>
          <p:cNvSpPr/>
          <p:nvPr/>
        </p:nvSpPr>
        <p:spPr>
          <a:xfrm>
            <a:off x="10524974" y="2984763"/>
            <a:ext cx="5943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Assist in finalize VHP prep work (e.g. sic sensor barriers)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5</a:t>
            </a:r>
            <a:r>
              <a:rPr lang="en-US" sz="600">
                <a:solidFill>
                  <a:srgbClr val="231F20"/>
                </a:solidFill>
              </a:rPr>
              <a:t>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>
              <a:solidFill>
                <a:srgbClr val="231F20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B1ED40C-19E9-44C4-BB3D-2EBF82FEE2A9}"/>
              </a:ext>
            </a:extLst>
          </p:cNvPr>
          <p:cNvSpPr/>
          <p:nvPr/>
        </p:nvSpPr>
        <p:spPr>
          <a:xfrm>
            <a:off x="3242639" y="3770838"/>
            <a:ext cx="5943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rgbClr val="231F20"/>
                </a:solidFill>
              </a:rPr>
              <a:t>Close out Fill paper-work</a:t>
            </a:r>
          </a:p>
          <a:p>
            <a:pPr algn="ctr"/>
            <a:r>
              <a:rPr lang="en-US" sz="600" b="1" dirty="0">
                <a:solidFill>
                  <a:srgbClr val="231F20"/>
                </a:solidFill>
              </a:rPr>
              <a:t>10 </a:t>
            </a:r>
            <a:r>
              <a:rPr lang="it-IT" sz="600" b="1" dirty="0">
                <a:solidFill>
                  <a:srgbClr val="231F20"/>
                </a:solidFill>
              </a:rPr>
              <a:t>min.</a:t>
            </a:r>
            <a:endParaRPr lang="en-US" sz="600" b="1" dirty="0">
              <a:solidFill>
                <a:srgbClr val="231F20"/>
              </a:solidFill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4FB41EA-40EC-4D99-81D1-1EC396AB4094}"/>
              </a:ext>
            </a:extLst>
          </p:cNvPr>
          <p:cNvSpPr/>
          <p:nvPr/>
        </p:nvSpPr>
        <p:spPr>
          <a:xfrm>
            <a:off x="9222486" y="3770838"/>
            <a:ext cx="5943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Pre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fill Glove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IT test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15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 b="1">
              <a:solidFill>
                <a:srgbClr val="231F20"/>
              </a:solidFill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0F184E6B-AEC7-4F72-8AF0-CE7362408521}"/>
              </a:ext>
            </a:extLst>
          </p:cNvPr>
          <p:cNvSpPr/>
          <p:nvPr/>
        </p:nvSpPr>
        <p:spPr>
          <a:xfrm>
            <a:off x="8603856" y="1412616"/>
            <a:ext cx="1000189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Install format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Part &amp; stoppering equipment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5 min.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F28428C-9332-4472-8C03-313A7EC2EB06}"/>
              </a:ext>
            </a:extLst>
          </p:cNvPr>
          <p:cNvSpPr/>
          <p:nvPr/>
        </p:nvSpPr>
        <p:spPr>
          <a:xfrm>
            <a:off x="2973964" y="1412616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rgbClr val="231F20"/>
                </a:solidFill>
              </a:rPr>
              <a:t>Empty</a:t>
            </a:r>
            <a:br>
              <a:rPr lang="en-US" sz="600" dirty="0">
                <a:solidFill>
                  <a:srgbClr val="231F20"/>
                </a:solidFill>
              </a:rPr>
            </a:br>
            <a:r>
              <a:rPr lang="en-US" sz="600" dirty="0">
                <a:solidFill>
                  <a:srgbClr val="231F20"/>
                </a:solidFill>
              </a:rPr>
              <a:t>out</a:t>
            </a:r>
            <a:br>
              <a:rPr lang="en-US" sz="600" dirty="0">
                <a:solidFill>
                  <a:srgbClr val="231F20"/>
                </a:solidFill>
              </a:rPr>
            </a:br>
            <a:r>
              <a:rPr lang="en-US" sz="600" dirty="0">
                <a:solidFill>
                  <a:srgbClr val="231F20"/>
                </a:solidFill>
              </a:rPr>
              <a:t>tunnel</a:t>
            </a:r>
            <a:br>
              <a:rPr lang="en-US" sz="600" dirty="0">
                <a:solidFill>
                  <a:srgbClr val="231F20"/>
                </a:solidFill>
              </a:rPr>
            </a:br>
            <a:r>
              <a:rPr lang="en-US" sz="600" dirty="0">
                <a:solidFill>
                  <a:srgbClr val="231F20"/>
                </a:solidFill>
              </a:rPr>
              <a:t>of glass</a:t>
            </a:r>
          </a:p>
          <a:p>
            <a:pPr algn="ctr"/>
            <a:r>
              <a:rPr lang="en-US" sz="600" b="1" dirty="0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D2AF29B8-FCF2-47AB-8442-A6267CDE1042}"/>
              </a:ext>
            </a:extLst>
          </p:cNvPr>
          <p:cNvSpPr/>
          <p:nvPr/>
        </p:nvSpPr>
        <p:spPr>
          <a:xfrm>
            <a:off x="6728514" y="1412616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Final glove preparation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min.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3571B98B-1713-4D55-8854-820886F901A7}"/>
              </a:ext>
            </a:extLst>
          </p:cNvPr>
          <p:cNvSpPr/>
          <p:nvPr/>
        </p:nvSpPr>
        <p:spPr>
          <a:xfrm>
            <a:off x="2973964" y="2984763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Empty out tunnel of glas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7E8EEFE-66DC-4771-AC4B-232C0DEEFC42}"/>
              </a:ext>
            </a:extLst>
          </p:cNvPr>
          <p:cNvSpPr/>
          <p:nvPr/>
        </p:nvSpPr>
        <p:spPr>
          <a:xfrm>
            <a:off x="3761450" y="2984763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Post fill Glove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IT test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25 min.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A032B1F3-DDDC-4CEF-A979-2FEBC82C02D4}"/>
              </a:ext>
            </a:extLst>
          </p:cNvPr>
          <p:cNvSpPr/>
          <p:nvPr/>
        </p:nvSpPr>
        <p:spPr>
          <a:xfrm>
            <a:off x="6728514" y="2984763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Final glove preparation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46D7135-85FA-4F26-BD3A-DD4F9F23F4D5}"/>
              </a:ext>
            </a:extLst>
          </p:cNvPr>
          <p:cNvSpPr/>
          <p:nvPr/>
        </p:nvSpPr>
        <p:spPr>
          <a:xfrm>
            <a:off x="9089701" y="2984763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Alcohol wipe and install glove extenders on tested glove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 b="1">
              <a:solidFill>
                <a:srgbClr val="231F20"/>
              </a:solidFill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1544E85C-CE70-497B-82ED-B9FDDBADD5CE}"/>
              </a:ext>
            </a:extLst>
          </p:cNvPr>
          <p:cNvSpPr/>
          <p:nvPr/>
        </p:nvSpPr>
        <p:spPr>
          <a:xfrm>
            <a:off x="6728515" y="3770838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Final glove preparation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75591132-F6D4-4D3C-9A92-97B813E10482}"/>
              </a:ext>
            </a:extLst>
          </p:cNvPr>
          <p:cNvSpPr/>
          <p:nvPr/>
        </p:nvSpPr>
        <p:spPr>
          <a:xfrm>
            <a:off x="8440645" y="3770838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Alcohol wipe and install glove extenders on tested glove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</a:t>
            </a:r>
            <a:r>
              <a:rPr lang="en-US" sz="600">
                <a:solidFill>
                  <a:srgbClr val="231F20"/>
                </a:solidFill>
              </a:rPr>
              <a:t>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>
              <a:solidFill>
                <a:srgbClr val="231F20"/>
              </a:solidFill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B7CA182B-E32D-4088-B6D2-14C83D115E80}"/>
              </a:ext>
            </a:extLst>
          </p:cNvPr>
          <p:cNvSpPr/>
          <p:nvPr/>
        </p:nvSpPr>
        <p:spPr>
          <a:xfrm>
            <a:off x="9867167" y="3770838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Install VHP load part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>
              <a:solidFill>
                <a:srgbClr val="231F20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7FAF2632-6594-44D3-A69E-A02E9ECB537A}"/>
              </a:ext>
            </a:extLst>
          </p:cNvPr>
          <p:cNvSpPr/>
          <p:nvPr/>
        </p:nvSpPr>
        <p:spPr>
          <a:xfrm>
            <a:off x="5918169" y="4556910"/>
            <a:ext cx="731520" cy="733967"/>
          </a:xfrm>
          <a:prstGeom prst="rect">
            <a:avLst/>
          </a:prstGeom>
          <a:noFill/>
          <a:ln w="9525" cap="rnd" cmpd="sng" algn="ctr">
            <a:solidFill>
              <a:srgbClr val="0E56A5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Manual cleaning Inspection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 b="1">
              <a:solidFill>
                <a:srgbClr val="231F20"/>
              </a:solidFill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5ECBEAEF-0AB5-4D73-BF0E-8C0F39FA7D6B}"/>
              </a:ext>
            </a:extLst>
          </p:cNvPr>
          <p:cNvSpPr/>
          <p:nvPr/>
        </p:nvSpPr>
        <p:spPr>
          <a:xfrm>
            <a:off x="2973964" y="2198690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Empty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out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tunnel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of glas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22D4A29-D992-46CD-8860-1E496D6A52D9}"/>
              </a:ext>
            </a:extLst>
          </p:cNvPr>
          <p:cNvSpPr/>
          <p:nvPr/>
        </p:nvSpPr>
        <p:spPr>
          <a:xfrm>
            <a:off x="6728514" y="2198690"/>
            <a:ext cx="7315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Final glove preparation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8E4F6307-D60D-46E5-8A0C-C267BFE11B89}"/>
              </a:ext>
            </a:extLst>
          </p:cNvPr>
          <p:cNvSpPr/>
          <p:nvPr/>
        </p:nvSpPr>
        <p:spPr>
          <a:xfrm>
            <a:off x="5895308" y="1412616"/>
            <a:ext cx="777240" cy="3092189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Break 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5 min.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2EFC1701-435C-45D6-8C56-57715BB56D70}"/>
              </a:ext>
            </a:extLst>
          </p:cNvPr>
          <p:cNvSpPr/>
          <p:nvPr/>
        </p:nvSpPr>
        <p:spPr>
          <a:xfrm>
            <a:off x="2369358" y="3770838"/>
            <a:ext cx="8229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Empty out tunnel of glas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40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 b="1">
              <a:solidFill>
                <a:srgbClr val="231F20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CAA44187-7A4B-4ED3-AA1B-E2C573FA41FE}"/>
              </a:ext>
            </a:extLst>
          </p:cNvPr>
          <p:cNvSpPr/>
          <p:nvPr/>
        </p:nvSpPr>
        <p:spPr>
          <a:xfrm>
            <a:off x="1444712" y="1412616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rgbClr val="231F20"/>
                </a:solidFill>
              </a:rPr>
              <a:t>End of Fill plating</a:t>
            </a:r>
          </a:p>
          <a:p>
            <a:pPr algn="ctr"/>
            <a:r>
              <a:rPr lang="en-US" sz="600" b="1" dirty="0">
                <a:solidFill>
                  <a:srgbClr val="231F20"/>
                </a:solidFill>
              </a:rPr>
              <a:t>45 min.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1CEBBF8-B596-43A7-99D7-4BDA40A924E1}"/>
              </a:ext>
            </a:extLst>
          </p:cNvPr>
          <p:cNvSpPr/>
          <p:nvPr/>
        </p:nvSpPr>
        <p:spPr>
          <a:xfrm>
            <a:off x="4970662" y="1412616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rgbClr val="231F20"/>
                </a:solidFill>
              </a:rPr>
              <a:t>Disassemble Isolator and clean</a:t>
            </a:r>
          </a:p>
          <a:p>
            <a:pPr algn="ctr"/>
            <a:r>
              <a:rPr lang="en-US" sz="600" b="1" dirty="0">
                <a:solidFill>
                  <a:srgbClr val="231F20"/>
                </a:solidFill>
              </a:rPr>
              <a:t> 30 min.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808DA522-FBAA-46B6-BE3D-D60CEF60CB53}"/>
              </a:ext>
            </a:extLst>
          </p:cNvPr>
          <p:cNvSpPr/>
          <p:nvPr/>
        </p:nvSpPr>
        <p:spPr>
          <a:xfrm>
            <a:off x="7515999" y="1412616"/>
            <a:ext cx="868681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Sanitization/</a:t>
            </a:r>
            <a:r>
              <a:rPr lang="en-US" sz="600" err="1">
                <a:solidFill>
                  <a:srgbClr val="231F20"/>
                </a:solidFill>
              </a:rPr>
              <a:t>Steri-perox</a:t>
            </a:r>
            <a:r>
              <a:rPr lang="en-US" sz="600">
                <a:solidFill>
                  <a:srgbClr val="231F20"/>
                </a:solidFill>
              </a:rPr>
              <a:t> Isolator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109C8D91-4A14-4160-9984-A1B2B75039A2}"/>
              </a:ext>
            </a:extLst>
          </p:cNvPr>
          <p:cNvSpPr/>
          <p:nvPr/>
        </p:nvSpPr>
        <p:spPr>
          <a:xfrm>
            <a:off x="1444712" y="2984763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End of Fill plating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45 min.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1A08C155-F699-4A4C-B092-784E6BCA4217}"/>
              </a:ext>
            </a:extLst>
          </p:cNvPr>
          <p:cNvSpPr/>
          <p:nvPr/>
        </p:nvSpPr>
        <p:spPr>
          <a:xfrm>
            <a:off x="4546113" y="2984763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Disassemble Isolator and clean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</a:t>
            </a:r>
            <a:r>
              <a:rPr lang="en-US" sz="600">
                <a:solidFill>
                  <a:srgbClr val="231F20"/>
                </a:solidFill>
              </a:rPr>
              <a:t> </a:t>
            </a:r>
            <a:r>
              <a:rPr lang="en-US" sz="600" b="1">
                <a:solidFill>
                  <a:srgbClr val="231F20"/>
                </a:solidFill>
              </a:rPr>
              <a:t>min.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EDE2B203-1999-485C-999E-3192901BC869}"/>
              </a:ext>
            </a:extLst>
          </p:cNvPr>
          <p:cNvSpPr/>
          <p:nvPr/>
        </p:nvSpPr>
        <p:spPr>
          <a:xfrm>
            <a:off x="7516000" y="2984763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600">
                <a:solidFill>
                  <a:srgbClr val="231F20"/>
                </a:solidFill>
              </a:rPr>
              <a:t>Sanitization/Steri-perox Isolator</a:t>
            </a:r>
          </a:p>
          <a:p>
            <a:pPr algn="ctr"/>
            <a:r>
              <a:rPr lang="it-IT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BAA4E798-7B94-4A12-A0A2-238B3D4F3A23}"/>
              </a:ext>
            </a:extLst>
          </p:cNvPr>
          <p:cNvSpPr/>
          <p:nvPr/>
        </p:nvSpPr>
        <p:spPr>
          <a:xfrm>
            <a:off x="1444712" y="3770838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End of Fill plating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45</a:t>
            </a:r>
            <a:r>
              <a:rPr lang="en-US" sz="600">
                <a:solidFill>
                  <a:srgbClr val="231F20"/>
                </a:solidFill>
              </a:rPr>
              <a:t> </a:t>
            </a:r>
            <a:r>
              <a:rPr lang="it-IT" sz="600" b="1">
                <a:solidFill>
                  <a:srgbClr val="231F20"/>
                </a:solidFill>
              </a:rPr>
              <a:t>min.</a:t>
            </a:r>
            <a:endParaRPr lang="en-US" sz="600">
              <a:solidFill>
                <a:srgbClr val="231F20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8D1C2FAC-F8F7-45B2-BF98-C21BA98D1763}"/>
              </a:ext>
            </a:extLst>
          </p:cNvPr>
          <p:cNvSpPr/>
          <p:nvPr/>
        </p:nvSpPr>
        <p:spPr>
          <a:xfrm>
            <a:off x="3887320" y="3770838"/>
            <a:ext cx="8229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rgbClr val="231F20"/>
                </a:solidFill>
              </a:rPr>
              <a:t>Disassemble Isolator and clean</a:t>
            </a:r>
          </a:p>
          <a:p>
            <a:pPr algn="ctr"/>
            <a:r>
              <a:rPr lang="en-US" sz="600" b="1" dirty="0">
                <a:solidFill>
                  <a:srgbClr val="231F20"/>
                </a:solidFill>
              </a:rPr>
              <a:t>30</a:t>
            </a:r>
            <a:r>
              <a:rPr lang="en-US" sz="600" dirty="0">
                <a:solidFill>
                  <a:srgbClr val="231F20"/>
                </a:solidFill>
              </a:rPr>
              <a:t> </a:t>
            </a:r>
            <a:r>
              <a:rPr lang="en-US" sz="600" b="1" dirty="0">
                <a:solidFill>
                  <a:srgbClr val="231F20"/>
                </a:solidFill>
              </a:rPr>
              <a:t>min.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D3E7C25A-4416-407C-8CEB-8CC647E5AC5E}"/>
              </a:ext>
            </a:extLst>
          </p:cNvPr>
          <p:cNvSpPr/>
          <p:nvPr/>
        </p:nvSpPr>
        <p:spPr>
          <a:xfrm>
            <a:off x="7516000" y="3770838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600">
                <a:solidFill>
                  <a:srgbClr val="231F20"/>
                </a:solidFill>
              </a:rPr>
              <a:t>Sanitization/Steri-perox Isolator</a:t>
            </a:r>
          </a:p>
          <a:p>
            <a:pPr algn="ctr"/>
            <a:r>
              <a:rPr lang="it-IT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1C40CE0C-8F69-453C-8DE6-822983A0DDC7}"/>
              </a:ext>
            </a:extLst>
          </p:cNvPr>
          <p:cNvSpPr/>
          <p:nvPr/>
        </p:nvSpPr>
        <p:spPr>
          <a:xfrm>
            <a:off x="1444712" y="2198690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End of Fill plating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45 min.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43785F8-02B2-4978-BEE5-7E88C2D3E2C9}"/>
              </a:ext>
            </a:extLst>
          </p:cNvPr>
          <p:cNvSpPr/>
          <p:nvPr/>
        </p:nvSpPr>
        <p:spPr>
          <a:xfrm>
            <a:off x="4970662" y="2198690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Disassemble Isolator and clean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BC6263A6-C0BD-45A2-9641-BD567DEBB16B}"/>
              </a:ext>
            </a:extLst>
          </p:cNvPr>
          <p:cNvSpPr/>
          <p:nvPr/>
        </p:nvSpPr>
        <p:spPr>
          <a:xfrm>
            <a:off x="7515999" y="2198690"/>
            <a:ext cx="868681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Sanitization/</a:t>
            </a:r>
            <a:r>
              <a:rPr lang="en-US" sz="600" err="1">
                <a:solidFill>
                  <a:srgbClr val="231F20"/>
                </a:solidFill>
              </a:rPr>
              <a:t>Steri-perox</a:t>
            </a:r>
            <a:r>
              <a:rPr lang="en-US" sz="600">
                <a:solidFill>
                  <a:srgbClr val="231F20"/>
                </a:solidFill>
              </a:rPr>
              <a:t> Isolator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99ED86-C31A-2631-EA35-426A18905DBA}"/>
              </a:ext>
            </a:extLst>
          </p:cNvPr>
          <p:cNvSpPr/>
          <p:nvPr/>
        </p:nvSpPr>
        <p:spPr>
          <a:xfrm>
            <a:off x="8603856" y="2192076"/>
            <a:ext cx="1000189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Pre-VHP dry run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20 min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9BB0AC7-9BF8-6770-9630-5E1C859B7251}"/>
              </a:ext>
            </a:extLst>
          </p:cNvPr>
          <p:cNvSpPr/>
          <p:nvPr/>
        </p:nvSpPr>
        <p:spPr>
          <a:xfrm>
            <a:off x="3887320" y="5342980"/>
            <a:ext cx="8229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Disassemble Isolator and clean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30</a:t>
            </a:r>
            <a:r>
              <a:rPr lang="en-US" sz="600">
                <a:solidFill>
                  <a:srgbClr val="231F20"/>
                </a:solidFill>
              </a:rPr>
              <a:t> </a:t>
            </a:r>
            <a:r>
              <a:rPr lang="en-US" sz="600" b="1">
                <a:solidFill>
                  <a:srgbClr val="231F20"/>
                </a:solidFill>
              </a:rPr>
              <a:t>min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4A7085-CD3F-CE2E-A906-4FF84AB602EA}"/>
              </a:ext>
            </a:extLst>
          </p:cNvPr>
          <p:cNvSpPr/>
          <p:nvPr/>
        </p:nvSpPr>
        <p:spPr>
          <a:xfrm>
            <a:off x="7516000" y="5342980"/>
            <a:ext cx="86868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600">
                <a:solidFill>
                  <a:srgbClr val="231F20"/>
                </a:solidFill>
              </a:rPr>
              <a:t>Sanitization/Steri-perox Isolator</a:t>
            </a:r>
          </a:p>
          <a:p>
            <a:pPr algn="ctr"/>
            <a:r>
              <a:rPr lang="it-IT" sz="600" b="1">
                <a:solidFill>
                  <a:srgbClr val="231F20"/>
                </a:solidFill>
              </a:rPr>
              <a:t>30 min.</a:t>
            </a:r>
          </a:p>
        </p:txBody>
      </p:sp>
      <p:sp>
        <p:nvSpPr>
          <p:cNvPr id="8" name="IllustrativeStamp">
            <a:extLst>
              <a:ext uri="{FF2B5EF4-FFF2-40B4-BE49-F238E27FC236}">
                <a16:creationId xmlns:a16="http://schemas.microsoft.com/office/drawing/2014/main" id="{BC1AE810-90DE-C69A-12FE-361157256AE4}"/>
              </a:ext>
            </a:extLst>
          </p:cNvPr>
          <p:cNvSpPr/>
          <p:nvPr/>
        </p:nvSpPr>
        <p:spPr>
          <a:xfrm>
            <a:off x="4859699" y="-2725"/>
            <a:ext cx="2457562" cy="301521"/>
          </a:xfrm>
          <a:prstGeom prst="rect">
            <a:avLst/>
          </a:prstGeom>
          <a:solidFill>
            <a:srgbClr val="FC1921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 b="1">
                <a:solidFill>
                  <a:srgbClr val="FFFFFF"/>
                </a:solidFill>
                <a:latin typeface="Montserrat Light" panose="00000400000000000000" pitchFamily="2" charset="0"/>
              </a:rPr>
              <a:t>Preliminary – For Discuss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874DBD5-CC56-44FD-6865-5B4EAF8C9D3C}"/>
              </a:ext>
            </a:extLst>
          </p:cNvPr>
          <p:cNvSpPr txBox="1"/>
          <p:nvPr/>
        </p:nvSpPr>
        <p:spPr>
          <a:xfrm>
            <a:off x="10729709" y="819747"/>
            <a:ext cx="1364845" cy="38595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0E56A5"/>
                </a:solidFill>
              </a:rPr>
              <a:t>5 hrs. 15 min</a:t>
            </a:r>
          </a:p>
        </p:txBody>
      </p:sp>
    </p:spTree>
    <p:extLst>
      <p:ext uri="{BB962C8B-B14F-4D97-AF65-F5344CB8AC3E}">
        <p14:creationId xmlns:p14="http://schemas.microsoft.com/office/powerpoint/2010/main" val="38554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A3DBF6C-ED3D-1CB4-F96E-B32654F0E8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3DBF6C-ED3D-1CB4-F96E-B32654F0E8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7C2C3E-9A73-5910-DC72-CECBAF32BAC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3525" y="736798"/>
            <a:ext cx="10729912" cy="387798"/>
          </a:xfrm>
          <a:effectLst/>
          <a:extLst>
            <a:ext uri="{31F19639-BCED-4A60-ADC4-E9642A236FB7}">
              <a14:hiddenScene3d xmlns:a14="http://schemas.microsoft.com/office/drawing/2010/main">
                <a:camera prst="legacyObliqueFront">
                  <a:rot lat="0" lon="0" rev="0"/>
                </a:camera>
                <a:lightRig rig="threePt" dir="t"/>
              </a14:hiddenScene3d>
            </a:ext>
          </a:extLst>
        </p:spPr>
        <p:txBody>
          <a:bodyPr vert="horz" lIns="0" tIns="0" rIns="0" bIns="0" anchor="t" anchorCtr="0"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>
              <a:spcBef>
                <a:spcPts val="0"/>
              </a:spcBef>
            </a:pPr>
            <a:r>
              <a:rPr lang="en-US">
                <a:effectLst/>
                <a:latin typeface="Montserrat" panose="00000500000000000000" pitchFamily="2" charset="0"/>
              </a:rPr>
              <a:t>Changeover process map | </a:t>
            </a:r>
            <a:r>
              <a:rPr lang="en-US" b="0">
                <a:solidFill>
                  <a:srgbClr val="231F20"/>
                </a:solidFill>
                <a:latin typeface="Montserrat" panose="00000500000000000000" pitchFamily="2" charset="0"/>
              </a:rPr>
              <a:t>f</a:t>
            </a:r>
            <a:r>
              <a:rPr lang="en-US" b="0">
                <a:solidFill>
                  <a:srgbClr val="231F20"/>
                </a:solidFill>
                <a:effectLst/>
                <a:latin typeface="Montserrat" panose="00000500000000000000" pitchFamily="2" charset="0"/>
              </a:rPr>
              <a:t>uture state (2</a:t>
            </a:r>
            <a:r>
              <a:rPr lang="en-US" b="0">
                <a:solidFill>
                  <a:srgbClr val="231F20"/>
                </a:solidFill>
                <a:latin typeface="Montserrat" panose="00000500000000000000" pitchFamily="2" charset="0"/>
              </a:rPr>
              <a:t>/2</a:t>
            </a:r>
            <a:r>
              <a:rPr lang="en-US" b="0">
                <a:solidFill>
                  <a:srgbClr val="231F20"/>
                </a:solidFill>
                <a:effectLst/>
                <a:latin typeface="Montserrat" panose="00000500000000000000" pitchFamily="2" charset="0"/>
              </a:rPr>
              <a:t>)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39ECBF61-AFCB-4250-A407-D0F0F763BC60}"/>
              </a:ext>
            </a:extLst>
          </p:cNvPr>
          <p:cNvSpPr/>
          <p:nvPr/>
        </p:nvSpPr>
        <p:spPr>
          <a:xfrm>
            <a:off x="11073403" y="6068824"/>
            <a:ext cx="380033" cy="161925"/>
          </a:xfrm>
          <a:prstGeom prst="rect">
            <a:avLst/>
          </a:prstGeom>
          <a:solidFill>
            <a:schemeClr val="tx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>
                <a:solidFill>
                  <a:srgbClr val="FFFFFF"/>
                </a:solidFill>
              </a:rPr>
              <a:t>End</a:t>
            </a:r>
          </a:p>
        </p:txBody>
      </p: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88DC79A0-91AD-453C-A0CE-ECB85BE1BCAD}"/>
              </a:ext>
            </a:extLst>
          </p:cNvPr>
          <p:cNvCxnSpPr>
            <a:cxnSpLocks/>
            <a:stCxn id="190" idx="1"/>
          </p:cNvCxnSpPr>
          <p:nvPr/>
        </p:nvCxnSpPr>
        <p:spPr>
          <a:xfrm flipH="1" flipV="1">
            <a:off x="723527" y="6132419"/>
            <a:ext cx="10349876" cy="17368"/>
          </a:xfrm>
          <a:prstGeom prst="line">
            <a:avLst/>
          </a:prstGeom>
          <a:ln w="9525" cap="rnd">
            <a:solidFill>
              <a:schemeClr val="tx1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9A04776A-62E5-4C5D-8C0D-388D7555E115}"/>
              </a:ext>
            </a:extLst>
          </p:cNvPr>
          <p:cNvGrpSpPr/>
          <p:nvPr/>
        </p:nvGrpSpPr>
        <p:grpSpPr>
          <a:xfrm>
            <a:off x="5755867" y="1188191"/>
            <a:ext cx="5697569" cy="143711"/>
            <a:chOff x="5755867" y="1208268"/>
            <a:chExt cx="5697569" cy="133952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1DFD1AA-6A69-4885-9C30-BF8B7D151FB3}"/>
                </a:ext>
              </a:extLst>
            </p:cNvPr>
            <p:cNvCxnSpPr>
              <a:cxnSpLocks/>
            </p:cNvCxnSpPr>
            <p:nvPr/>
          </p:nvCxnSpPr>
          <p:spPr>
            <a:xfrm>
              <a:off x="5755867" y="1275244"/>
              <a:ext cx="5697569" cy="0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  <a:round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04A43FA6-37D4-43B0-8DBA-A4A5377FF6CC}"/>
                </a:ext>
              </a:extLst>
            </p:cNvPr>
            <p:cNvSpPr txBox="1"/>
            <p:nvPr/>
          </p:nvSpPr>
          <p:spPr>
            <a:xfrm>
              <a:off x="7733120" y="1208268"/>
              <a:ext cx="1743062" cy="133952"/>
            </a:xfrm>
            <a:prstGeom prst="rect">
              <a:avLst/>
            </a:prstGeom>
            <a:solidFill>
              <a:srgbClr val="FFFFFF"/>
            </a:solidFill>
            <a:ln w="9525" cap="rnd">
              <a:noFill/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>
                  <a:solidFill>
                    <a:srgbClr val="231F20"/>
                  </a:solidFill>
                </a:rPr>
                <a:t>Vial Washer/tunnel Loading</a:t>
              </a: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507F25DE-4D83-4A36-82BE-DD8D116F8F72}"/>
              </a:ext>
            </a:extLst>
          </p:cNvPr>
          <p:cNvSpPr/>
          <p:nvPr/>
        </p:nvSpPr>
        <p:spPr>
          <a:xfrm>
            <a:off x="723525" y="1412616"/>
            <a:ext cx="665221" cy="733967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ASO 1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53186233-76BB-49A6-9E58-6736614718BE}"/>
              </a:ext>
            </a:extLst>
          </p:cNvPr>
          <p:cNvSpPr/>
          <p:nvPr/>
        </p:nvSpPr>
        <p:spPr>
          <a:xfrm>
            <a:off x="723525" y="2984762"/>
            <a:ext cx="665221" cy="7339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Filler Techni-</a:t>
            </a:r>
            <a:r>
              <a:rPr lang="en-US" sz="1200" err="1">
                <a:solidFill>
                  <a:srgbClr val="FFFFFF"/>
                </a:solidFill>
              </a:rPr>
              <a:t>cian</a:t>
            </a:r>
            <a:r>
              <a:rPr lang="en-US" sz="1200">
                <a:solidFill>
                  <a:srgbClr val="FFFFFF"/>
                </a:solidFill>
              </a:rPr>
              <a:t> 1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E1231562-FDC0-4CD4-A0F0-CAB21084BF1F}"/>
              </a:ext>
            </a:extLst>
          </p:cNvPr>
          <p:cNvSpPr/>
          <p:nvPr/>
        </p:nvSpPr>
        <p:spPr>
          <a:xfrm>
            <a:off x="723525" y="3773422"/>
            <a:ext cx="665221" cy="728794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Filler Techni-cian 2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2C8D63E-3960-4088-B9A4-45F9132BC801}"/>
              </a:ext>
            </a:extLst>
          </p:cNvPr>
          <p:cNvSpPr/>
          <p:nvPr/>
        </p:nvSpPr>
        <p:spPr>
          <a:xfrm>
            <a:off x="723525" y="5342983"/>
            <a:ext cx="665221" cy="733967"/>
          </a:xfrm>
          <a:prstGeom prst="rect">
            <a:avLst/>
          </a:prstGeom>
          <a:solidFill>
            <a:srgbClr val="F1EFE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spc="-30">
                <a:solidFill>
                  <a:srgbClr val="231F20"/>
                </a:solidFill>
              </a:rPr>
              <a:t>Support (incl. support to clean isolator)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0552778B-12CE-4009-8678-814CB45DBF5D}"/>
              </a:ext>
            </a:extLst>
          </p:cNvPr>
          <p:cNvSpPr/>
          <p:nvPr/>
        </p:nvSpPr>
        <p:spPr>
          <a:xfrm>
            <a:off x="723525" y="2198690"/>
            <a:ext cx="665221" cy="733967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ASO 2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1275A56-D001-4730-A2E2-E2A6385C24E4}"/>
              </a:ext>
            </a:extLst>
          </p:cNvPr>
          <p:cNvSpPr/>
          <p:nvPr/>
        </p:nvSpPr>
        <p:spPr>
          <a:xfrm>
            <a:off x="5758146" y="1412616"/>
            <a:ext cx="5029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Pre check washer and start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19D1C07-F9F4-4FD5-92FB-C4EC023FE6F9}"/>
              </a:ext>
            </a:extLst>
          </p:cNvPr>
          <p:cNvSpPr/>
          <p:nvPr/>
        </p:nvSpPr>
        <p:spPr>
          <a:xfrm>
            <a:off x="8329614" y="2984762"/>
            <a:ext cx="50292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600">
                <a:solidFill>
                  <a:srgbClr val="231F20"/>
                </a:solidFill>
              </a:rPr>
              <a:t>Monitor Isolator SMA plate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A42FD1E-949D-4997-999A-AE0E300EE837}"/>
              </a:ext>
            </a:extLst>
          </p:cNvPr>
          <p:cNvSpPr/>
          <p:nvPr/>
        </p:nvSpPr>
        <p:spPr>
          <a:xfrm>
            <a:off x="8328909" y="3773421"/>
            <a:ext cx="502920" cy="728794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600">
                <a:solidFill>
                  <a:srgbClr val="231F20"/>
                </a:solidFill>
              </a:rPr>
              <a:t>Monitor Isolator SMA plate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F3C394-0DA7-4B33-909B-FB499DC2404A}"/>
              </a:ext>
            </a:extLst>
          </p:cNvPr>
          <p:cNvSpPr/>
          <p:nvPr/>
        </p:nvSpPr>
        <p:spPr>
          <a:xfrm>
            <a:off x="9616029" y="3773421"/>
            <a:ext cx="502920" cy="728794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Complete post filter test docume-ntation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71154A5-8351-464D-86C7-35F0FB8A11BD}"/>
              </a:ext>
            </a:extLst>
          </p:cNvPr>
          <p:cNvSpPr/>
          <p:nvPr/>
        </p:nvSpPr>
        <p:spPr>
          <a:xfrm>
            <a:off x="7178947" y="5731940"/>
            <a:ext cx="502920" cy="345012"/>
          </a:xfrm>
          <a:prstGeom prst="rect">
            <a:avLst/>
          </a:prstGeom>
          <a:noFill/>
          <a:ln w="9525" cap="rnd" cmpd="sng" algn="ctr">
            <a:solidFill>
              <a:srgbClr val="F1EFEA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spc="-20">
                <a:solidFill>
                  <a:srgbClr val="231F20"/>
                </a:solidFill>
              </a:rPr>
              <a:t>Pre fill</a:t>
            </a:r>
            <a:br>
              <a:rPr lang="en-US" sz="600" spc="-20">
                <a:solidFill>
                  <a:srgbClr val="231F20"/>
                </a:solidFill>
              </a:rPr>
            </a:br>
            <a:r>
              <a:rPr lang="en-US" sz="600" spc="-20">
                <a:solidFill>
                  <a:srgbClr val="231F20"/>
                </a:solidFill>
              </a:rPr>
              <a:t>sign off</a:t>
            </a:r>
          </a:p>
          <a:p>
            <a:pPr algn="ctr"/>
            <a:r>
              <a:rPr lang="en-US" sz="600" b="1" spc="-20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05289A9-F255-4549-8187-D200C134893E}"/>
              </a:ext>
            </a:extLst>
          </p:cNvPr>
          <p:cNvSpPr/>
          <p:nvPr/>
        </p:nvSpPr>
        <p:spPr>
          <a:xfrm>
            <a:off x="7178947" y="4556908"/>
            <a:ext cx="502920" cy="733967"/>
          </a:xfrm>
          <a:prstGeom prst="rect">
            <a:avLst/>
          </a:prstGeom>
          <a:noFill/>
          <a:ln w="9525" cap="rnd" cmpd="sng" algn="ctr">
            <a:solidFill>
              <a:srgbClr val="0E56A5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spc="-20">
                <a:solidFill>
                  <a:srgbClr val="231F20"/>
                </a:solidFill>
              </a:rPr>
              <a:t>Post VHP sign off and post VHP visual glove inspection</a:t>
            </a:r>
          </a:p>
          <a:p>
            <a:pPr algn="ctr"/>
            <a:r>
              <a:rPr lang="en-US" sz="600" b="1" spc="-20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5337BC5-52DC-432A-A890-9B593955A07A}"/>
              </a:ext>
            </a:extLst>
          </p:cNvPr>
          <p:cNvSpPr/>
          <p:nvPr/>
        </p:nvSpPr>
        <p:spPr>
          <a:xfrm>
            <a:off x="10215282" y="4556908"/>
            <a:ext cx="502920" cy="733967"/>
          </a:xfrm>
          <a:prstGeom prst="rect">
            <a:avLst/>
          </a:prstGeom>
          <a:noFill/>
          <a:ln w="9525" cap="rnd" cmpd="sng" algn="ctr">
            <a:solidFill>
              <a:srgbClr val="0E56A5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spc="-20">
                <a:solidFill>
                  <a:srgbClr val="231F20"/>
                </a:solidFill>
              </a:rPr>
              <a:t>Pre fill</a:t>
            </a:r>
            <a:br>
              <a:rPr lang="en-US" sz="600" spc="-20">
                <a:solidFill>
                  <a:srgbClr val="231F20"/>
                </a:solidFill>
              </a:rPr>
            </a:br>
            <a:r>
              <a:rPr lang="en-US" sz="600" spc="-20">
                <a:solidFill>
                  <a:srgbClr val="231F20"/>
                </a:solidFill>
              </a:rPr>
              <a:t>sign off</a:t>
            </a:r>
          </a:p>
          <a:p>
            <a:pPr algn="ctr"/>
            <a:r>
              <a:rPr lang="en-US" sz="600" b="1" spc="-20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7D79317-5B6A-45F6-9590-B25BC6B9A838}"/>
              </a:ext>
            </a:extLst>
          </p:cNvPr>
          <p:cNvSpPr/>
          <p:nvPr/>
        </p:nvSpPr>
        <p:spPr>
          <a:xfrm>
            <a:off x="5758146" y="2198690"/>
            <a:ext cx="50292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Pre check washer and start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5 min.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F218B2D-14C7-44C9-9009-FF390A7524A5}"/>
              </a:ext>
            </a:extLst>
          </p:cNvPr>
          <p:cNvSpPr/>
          <p:nvPr/>
        </p:nvSpPr>
        <p:spPr>
          <a:xfrm>
            <a:off x="7731538" y="2984762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Take out glove </a:t>
            </a:r>
            <a:r>
              <a:rPr lang="en-US" sz="600" spc="-20">
                <a:solidFill>
                  <a:srgbClr val="231F20"/>
                </a:solidFill>
              </a:rPr>
              <a:t>extender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7DC9142-EDF8-4189-9380-E75934D86C31}"/>
              </a:ext>
            </a:extLst>
          </p:cNvPr>
          <p:cNvSpPr/>
          <p:nvPr/>
        </p:nvSpPr>
        <p:spPr>
          <a:xfrm>
            <a:off x="9525766" y="2984762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" tIns="18288" rIns="18288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75000"/>
              </a:lnSpc>
            </a:pPr>
            <a:r>
              <a:rPr lang="en-US" sz="600">
                <a:solidFill>
                  <a:srgbClr val="231F20"/>
                </a:solidFill>
              </a:rPr>
              <a:t>Complete equipment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log-in and document-tation (e.g., fill assembly, stopper)</a:t>
            </a:r>
          </a:p>
          <a:p>
            <a:pPr algn="ctr">
              <a:lnSpc>
                <a:spcPct val="75000"/>
              </a:lnSpc>
            </a:pPr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88C0749-AAC4-4517-AB8C-D57FB1C0A3D5}"/>
              </a:ext>
            </a:extLst>
          </p:cNvPr>
          <p:cNvSpPr/>
          <p:nvPr/>
        </p:nvSpPr>
        <p:spPr>
          <a:xfrm>
            <a:off x="7731068" y="3773421"/>
            <a:ext cx="548640" cy="728794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Soak the filter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EBDCB3E-4324-4EEF-9C33-F0B1AB121242}"/>
              </a:ext>
            </a:extLst>
          </p:cNvPr>
          <p:cNvSpPr/>
          <p:nvPr/>
        </p:nvSpPr>
        <p:spPr>
          <a:xfrm>
            <a:off x="7731539" y="1412616"/>
            <a:ext cx="548641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Instal post VHP format part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91F4A5B-F77C-477F-BB93-23EA07AED520}"/>
              </a:ext>
            </a:extLst>
          </p:cNvPr>
          <p:cNvSpPr/>
          <p:nvPr/>
        </p:nvSpPr>
        <p:spPr>
          <a:xfrm>
            <a:off x="8974175" y="1412616"/>
            <a:ext cx="548641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Setup Test Vial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72EC758-48D5-40F7-8AFA-7E3D294ED112}"/>
              </a:ext>
            </a:extLst>
          </p:cNvPr>
          <p:cNvSpPr/>
          <p:nvPr/>
        </p:nvSpPr>
        <p:spPr>
          <a:xfrm>
            <a:off x="8329613" y="1412616"/>
            <a:ext cx="594361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600">
                <a:solidFill>
                  <a:srgbClr val="231F20"/>
                </a:solidFill>
              </a:rPr>
              <a:t>1. Check load cells with scale</a:t>
            </a:r>
          </a:p>
          <a:p>
            <a:pPr algn="ctr">
              <a:lnSpc>
                <a:spcPct val="90000"/>
              </a:lnSpc>
            </a:pPr>
            <a:r>
              <a:rPr lang="en-US" sz="600">
                <a:solidFill>
                  <a:srgbClr val="231F20"/>
                </a:solidFill>
              </a:rPr>
              <a:t>2. Fill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needle setup</a:t>
            </a:r>
          </a:p>
          <a:p>
            <a:pPr algn="ctr">
              <a:lnSpc>
                <a:spcPct val="90000"/>
              </a:lnSpc>
            </a:pPr>
            <a:r>
              <a:rPr lang="en-US" sz="600" b="1">
                <a:solidFill>
                  <a:srgbClr val="231F20"/>
                </a:solidFill>
              </a:rPr>
              <a:t>15 min.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DCBAFED4-AC03-4B01-9CCB-845326288B08}"/>
              </a:ext>
            </a:extLst>
          </p:cNvPr>
          <p:cNvSpPr/>
          <p:nvPr/>
        </p:nvSpPr>
        <p:spPr>
          <a:xfrm>
            <a:off x="8881970" y="2984762"/>
            <a:ext cx="5943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Fill assembly prepping and docking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5 min.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C212A3E-ABB0-47C3-8982-B312DF172856}"/>
              </a:ext>
            </a:extLst>
          </p:cNvPr>
          <p:cNvSpPr/>
          <p:nvPr/>
        </p:nvSpPr>
        <p:spPr>
          <a:xfrm>
            <a:off x="10123842" y="2984762"/>
            <a:ext cx="59436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Hand needles to ASO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15 min.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287E4AD4-91FF-4A67-BF88-0750E0FF1CAD}"/>
              </a:ext>
            </a:extLst>
          </p:cNvPr>
          <p:cNvSpPr/>
          <p:nvPr/>
        </p:nvSpPr>
        <p:spPr>
          <a:xfrm>
            <a:off x="7731539" y="2198690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Instal post VHP format part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3EAACE5-90D7-49FD-8462-D276930E7933}"/>
              </a:ext>
            </a:extLst>
          </p:cNvPr>
          <p:cNvSpPr/>
          <p:nvPr/>
        </p:nvSpPr>
        <p:spPr>
          <a:xfrm>
            <a:off x="8974176" y="2198690"/>
            <a:ext cx="54864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Setup Test Vials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10 min.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42A9CFB-3CC9-44FA-8312-1A0315F7B605}"/>
              </a:ext>
            </a:extLst>
          </p:cNvPr>
          <p:cNvSpPr/>
          <p:nvPr/>
        </p:nvSpPr>
        <p:spPr>
          <a:xfrm>
            <a:off x="8329615" y="2198690"/>
            <a:ext cx="59436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600">
                <a:solidFill>
                  <a:srgbClr val="231F20"/>
                </a:solidFill>
              </a:rPr>
              <a:t>1. Check load cells with scale</a:t>
            </a:r>
          </a:p>
          <a:p>
            <a:pPr algn="ctr">
              <a:lnSpc>
                <a:spcPct val="90000"/>
              </a:lnSpc>
            </a:pPr>
            <a:r>
              <a:rPr lang="en-US" sz="600">
                <a:solidFill>
                  <a:srgbClr val="231F20"/>
                </a:solidFill>
              </a:rPr>
              <a:t>2. Fill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needle setup</a:t>
            </a:r>
          </a:p>
          <a:p>
            <a:pPr algn="ctr">
              <a:lnSpc>
                <a:spcPct val="90000"/>
              </a:lnSpc>
            </a:pPr>
            <a:r>
              <a:rPr lang="en-US" sz="600" b="1">
                <a:solidFill>
                  <a:srgbClr val="231F20"/>
                </a:solidFill>
              </a:rPr>
              <a:t>15 min.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B3A6AB4-98A7-4E37-A726-B06DBE26A05D}"/>
              </a:ext>
            </a:extLst>
          </p:cNvPr>
          <p:cNvSpPr/>
          <p:nvPr/>
        </p:nvSpPr>
        <p:spPr>
          <a:xfrm>
            <a:off x="10767636" y="2984762"/>
            <a:ext cx="685800" cy="73396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Aseptic </a:t>
            </a:r>
            <a:r>
              <a:rPr lang="en-US" sz="600" spc="-20">
                <a:solidFill>
                  <a:srgbClr val="231F20"/>
                </a:solidFill>
              </a:rPr>
              <a:t>Connection</a:t>
            </a:r>
            <a:r>
              <a:rPr lang="en-US" sz="600">
                <a:solidFill>
                  <a:srgbClr val="231F20"/>
                </a:solidFill>
              </a:rPr>
              <a:t> and Hold time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25 min.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FEC0CF6D-E216-4793-991E-F27858CD0306}"/>
              </a:ext>
            </a:extLst>
          </p:cNvPr>
          <p:cNvSpPr/>
          <p:nvPr/>
        </p:nvSpPr>
        <p:spPr>
          <a:xfrm>
            <a:off x="10767636" y="3773421"/>
            <a:ext cx="685800" cy="728794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Aseptic </a:t>
            </a:r>
            <a:r>
              <a:rPr lang="en-US" sz="600" spc="-20">
                <a:solidFill>
                  <a:srgbClr val="231F20"/>
                </a:solidFill>
              </a:rPr>
              <a:t>Connection</a:t>
            </a:r>
            <a:r>
              <a:rPr lang="en-US" sz="600">
                <a:solidFill>
                  <a:srgbClr val="231F20"/>
                </a:solidFill>
              </a:rPr>
              <a:t> and Hold time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25 min.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BC0AA2E5-4491-4F3A-9CD8-95253B7032C6}"/>
              </a:ext>
            </a:extLst>
          </p:cNvPr>
          <p:cNvSpPr/>
          <p:nvPr/>
        </p:nvSpPr>
        <p:spPr>
          <a:xfrm>
            <a:off x="8881030" y="3773421"/>
            <a:ext cx="685800" cy="728794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Filter testing (***Monitor the times on new </a:t>
            </a:r>
            <a:r>
              <a:rPr lang="en-US" sz="600" spc="-20">
                <a:solidFill>
                  <a:srgbClr val="231F20"/>
                </a:solidFill>
              </a:rPr>
              <a:t>tester when </a:t>
            </a:r>
            <a:r>
              <a:rPr lang="en-US" sz="600">
                <a:solidFill>
                  <a:srgbClr val="231F20"/>
                </a:solidFill>
              </a:rPr>
              <a:t>RTO)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>
                <a:solidFill>
                  <a:srgbClr val="231F20"/>
                </a:solidFill>
              </a:rPr>
              <a:t> </a:t>
            </a:r>
            <a:r>
              <a:rPr lang="en-US" sz="600" b="1">
                <a:solidFill>
                  <a:srgbClr val="231F20"/>
                </a:solidFill>
              </a:rPr>
              <a:t>25 min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004CE655-23CC-40EF-A269-DD5902E6FF02}"/>
              </a:ext>
            </a:extLst>
          </p:cNvPr>
          <p:cNvSpPr/>
          <p:nvPr/>
        </p:nvSpPr>
        <p:spPr>
          <a:xfrm>
            <a:off x="1444712" y="1412616"/>
            <a:ext cx="137160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Vial washer Changeover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60 min.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464D5F1-D381-4F9E-8CD1-9D7FE812F2AB}"/>
              </a:ext>
            </a:extLst>
          </p:cNvPr>
          <p:cNvSpPr/>
          <p:nvPr/>
        </p:nvSpPr>
        <p:spPr>
          <a:xfrm>
            <a:off x="6310502" y="2984762"/>
            <a:ext cx="1371600" cy="733967"/>
          </a:xfrm>
          <a:prstGeom prst="rect">
            <a:avLst/>
          </a:prstGeom>
          <a:noFill/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Big Room Sanitation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30</a:t>
            </a:r>
            <a:r>
              <a:rPr lang="en-US" sz="600">
                <a:solidFill>
                  <a:srgbClr val="231F20"/>
                </a:solidFill>
              </a:rPr>
              <a:t> </a:t>
            </a:r>
            <a:r>
              <a:rPr lang="en-US" sz="600" b="1">
                <a:solidFill>
                  <a:srgbClr val="231F20"/>
                </a:solidFill>
              </a:rPr>
              <a:t>min.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EBC8490-4A1A-43C2-8AAD-578C9D0D2284}"/>
              </a:ext>
            </a:extLst>
          </p:cNvPr>
          <p:cNvSpPr/>
          <p:nvPr/>
        </p:nvSpPr>
        <p:spPr>
          <a:xfrm>
            <a:off x="6310267" y="3773421"/>
            <a:ext cx="1371600" cy="728794"/>
          </a:xfrm>
          <a:prstGeom prst="rect">
            <a:avLst/>
          </a:prstGeom>
          <a:noFill/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Big Room Sanitation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30</a:t>
            </a:r>
            <a:r>
              <a:rPr lang="en-US" sz="600">
                <a:solidFill>
                  <a:srgbClr val="231F20"/>
                </a:solidFill>
              </a:rPr>
              <a:t> </a:t>
            </a:r>
            <a:r>
              <a:rPr lang="en-US" sz="600" b="1">
                <a:solidFill>
                  <a:srgbClr val="231F20"/>
                </a:solidFill>
              </a:rPr>
              <a:t>min.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3DDD96C-C0A6-4631-ADD9-37631B7CB4FB}"/>
              </a:ext>
            </a:extLst>
          </p:cNvPr>
          <p:cNvSpPr/>
          <p:nvPr/>
        </p:nvSpPr>
        <p:spPr>
          <a:xfrm>
            <a:off x="1444712" y="2198690"/>
            <a:ext cx="1371600" cy="733967"/>
          </a:xfrm>
          <a:prstGeom prst="rect">
            <a:avLst/>
          </a:prstGeom>
          <a:noFill/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Vial washer Changeover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60 min.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4565089-8664-451D-9BCC-0F240523A92E}"/>
              </a:ext>
            </a:extLst>
          </p:cNvPr>
          <p:cNvSpPr/>
          <p:nvPr/>
        </p:nvSpPr>
        <p:spPr>
          <a:xfrm>
            <a:off x="1444712" y="2984762"/>
            <a:ext cx="4816354" cy="733967"/>
          </a:xfrm>
          <a:prstGeom prst="rect">
            <a:avLst/>
          </a:prstGeom>
          <a:noFill/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VHP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210 min.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CC5AFAFF-E1F8-4FA3-B7D8-48AE76EB91D2}"/>
              </a:ext>
            </a:extLst>
          </p:cNvPr>
          <p:cNvSpPr/>
          <p:nvPr/>
        </p:nvSpPr>
        <p:spPr>
          <a:xfrm>
            <a:off x="1444712" y="3773421"/>
            <a:ext cx="4816354" cy="728794"/>
          </a:xfrm>
          <a:prstGeom prst="rect">
            <a:avLst/>
          </a:prstGeom>
          <a:noFill/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VHP</a:t>
            </a:r>
          </a:p>
          <a:p>
            <a:pPr algn="ctr"/>
            <a:r>
              <a:rPr lang="en-US" sz="600" b="1">
                <a:solidFill>
                  <a:srgbClr val="231F20"/>
                </a:solidFill>
              </a:rPr>
              <a:t>210 min.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5B4B806-FB34-48AE-85F9-93B5C84EDB4B}"/>
              </a:ext>
            </a:extLst>
          </p:cNvPr>
          <p:cNvSpPr/>
          <p:nvPr/>
        </p:nvSpPr>
        <p:spPr>
          <a:xfrm>
            <a:off x="723525" y="4556908"/>
            <a:ext cx="665221" cy="733967"/>
          </a:xfrm>
          <a:prstGeom prst="rect">
            <a:avLst/>
          </a:prstGeom>
          <a:solidFill>
            <a:srgbClr val="0E56A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QAO / Super-visor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FE320417-F624-4587-86F9-82DC2BDC345B}"/>
              </a:ext>
            </a:extLst>
          </p:cNvPr>
          <p:cNvCxnSpPr/>
          <p:nvPr/>
        </p:nvCxnSpPr>
        <p:spPr>
          <a:xfrm>
            <a:off x="723900" y="5316928"/>
            <a:ext cx="1072991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6D25E418-2950-4DF4-B72F-62AE5A845AE2}"/>
              </a:ext>
            </a:extLst>
          </p:cNvPr>
          <p:cNvCxnSpPr/>
          <p:nvPr/>
        </p:nvCxnSpPr>
        <p:spPr>
          <a:xfrm>
            <a:off x="723900" y="4530855"/>
            <a:ext cx="1072991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CBD87685-B015-4E7B-B676-185627952E77}"/>
              </a:ext>
            </a:extLst>
          </p:cNvPr>
          <p:cNvCxnSpPr/>
          <p:nvPr/>
        </p:nvCxnSpPr>
        <p:spPr>
          <a:xfrm>
            <a:off x="723900" y="3744782"/>
            <a:ext cx="1072991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750247A-1051-4A44-8884-CC4EE3514B33}"/>
              </a:ext>
            </a:extLst>
          </p:cNvPr>
          <p:cNvCxnSpPr/>
          <p:nvPr/>
        </p:nvCxnSpPr>
        <p:spPr>
          <a:xfrm>
            <a:off x="723900" y="2958709"/>
            <a:ext cx="1072991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A4C2CF6-FDB9-254C-D062-3BCA212DE9A7}"/>
              </a:ext>
            </a:extLst>
          </p:cNvPr>
          <p:cNvSpPr/>
          <p:nvPr/>
        </p:nvSpPr>
        <p:spPr>
          <a:xfrm>
            <a:off x="6310266" y="5342983"/>
            <a:ext cx="1364845" cy="342933"/>
          </a:xfrm>
          <a:prstGeom prst="rect">
            <a:avLst/>
          </a:prstGeom>
          <a:noFill/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C192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231F20"/>
                </a:solidFill>
              </a:rPr>
              <a:t>Big Room Sanitation</a:t>
            </a:r>
            <a:br>
              <a:rPr lang="en-US" sz="600">
                <a:solidFill>
                  <a:srgbClr val="231F20"/>
                </a:solidFill>
              </a:rPr>
            </a:br>
            <a:r>
              <a:rPr lang="en-US" sz="600" b="1">
                <a:solidFill>
                  <a:srgbClr val="231F20"/>
                </a:solidFill>
              </a:rPr>
              <a:t>30</a:t>
            </a:r>
            <a:r>
              <a:rPr lang="en-US" sz="600">
                <a:solidFill>
                  <a:srgbClr val="231F20"/>
                </a:solidFill>
              </a:rPr>
              <a:t> </a:t>
            </a:r>
            <a:r>
              <a:rPr lang="en-US" sz="600" b="1">
                <a:solidFill>
                  <a:srgbClr val="231F20"/>
                </a:solidFill>
              </a:rPr>
              <a:t>min.</a:t>
            </a:r>
          </a:p>
        </p:txBody>
      </p:sp>
      <p:sp>
        <p:nvSpPr>
          <p:cNvPr id="7" name="IllustrativeStamp">
            <a:extLst>
              <a:ext uri="{FF2B5EF4-FFF2-40B4-BE49-F238E27FC236}">
                <a16:creationId xmlns:a16="http://schemas.microsoft.com/office/drawing/2014/main" id="{29D8178C-0C89-8227-8AAB-D510F88BB0E1}"/>
              </a:ext>
            </a:extLst>
          </p:cNvPr>
          <p:cNvSpPr/>
          <p:nvPr/>
        </p:nvSpPr>
        <p:spPr>
          <a:xfrm>
            <a:off x="4859699" y="-2725"/>
            <a:ext cx="2457562" cy="301521"/>
          </a:xfrm>
          <a:prstGeom prst="rect">
            <a:avLst/>
          </a:prstGeom>
          <a:solidFill>
            <a:srgbClr val="FC1921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 b="1">
                <a:solidFill>
                  <a:srgbClr val="FFFFFF"/>
                </a:solidFill>
                <a:latin typeface="Montserrat Light" panose="00000400000000000000" pitchFamily="2" charset="0"/>
              </a:rPr>
              <a:t>Preliminary – For Discuss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E1A372-6BB1-8E4A-DBCF-53FEB4CB3447}"/>
              </a:ext>
            </a:extLst>
          </p:cNvPr>
          <p:cNvSpPr txBox="1"/>
          <p:nvPr/>
        </p:nvSpPr>
        <p:spPr>
          <a:xfrm>
            <a:off x="10189759" y="5691935"/>
            <a:ext cx="2147324" cy="38595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rgbClr val="0E56A5"/>
                </a:solidFill>
              </a:rPr>
              <a:t>10 hrs. 30 min (total)</a:t>
            </a:r>
          </a:p>
        </p:txBody>
      </p:sp>
    </p:spTree>
    <p:extLst>
      <p:ext uri="{BB962C8B-B14F-4D97-AF65-F5344CB8AC3E}">
        <p14:creationId xmlns:p14="http://schemas.microsoft.com/office/powerpoint/2010/main" val="183983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1DF03CC-77DC-49A5-A585-038693AA07D3}"/>
              </a:ext>
            </a:extLst>
          </p:cNvPr>
          <p:cNvSpPr/>
          <p:nvPr/>
        </p:nvSpPr>
        <p:spPr>
          <a:xfrm>
            <a:off x="1603480" y="759210"/>
            <a:ext cx="8482519" cy="43677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Process</a:t>
            </a:r>
          </a:p>
          <a:p>
            <a:pPr algn="ctr"/>
            <a:endParaRPr lang="en-IN" sz="1200" dirty="0">
              <a:solidFill>
                <a:schemeClr val="tx1"/>
              </a:solidFill>
            </a:endParaRP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Name of process </a:t>
            </a: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Created by</a:t>
            </a:r>
          </a:p>
          <a:p>
            <a:pPr algn="ctr"/>
            <a:r>
              <a:rPr lang="en-IN" sz="1200" dirty="0" err="1">
                <a:solidFill>
                  <a:schemeClr val="tx1"/>
                </a:solidFill>
              </a:rPr>
              <a:t>Modiby</a:t>
            </a:r>
            <a:endParaRPr lang="en-IN" sz="1200" dirty="0">
              <a:solidFill>
                <a:schemeClr val="tx1"/>
              </a:solidFill>
            </a:endParaRP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Total hrs</a:t>
            </a:r>
          </a:p>
          <a:p>
            <a:pPr algn="ctr"/>
            <a:endParaRPr lang="en-IN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021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1DF03CC-77DC-49A5-A585-038693AA07D3}"/>
              </a:ext>
            </a:extLst>
          </p:cNvPr>
          <p:cNvSpPr/>
          <p:nvPr/>
        </p:nvSpPr>
        <p:spPr>
          <a:xfrm>
            <a:off x="1603480" y="759210"/>
            <a:ext cx="8482519" cy="43677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Department Type </a:t>
            </a:r>
          </a:p>
          <a:p>
            <a:pPr algn="ctr"/>
            <a:endParaRPr lang="en-IN" sz="1200" dirty="0">
              <a:solidFill>
                <a:schemeClr val="tx1"/>
              </a:solidFill>
            </a:endParaRP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Type  : </a:t>
            </a:r>
            <a:r>
              <a:rPr lang="en-IN" sz="1200" dirty="0" err="1">
                <a:solidFill>
                  <a:schemeClr val="tx1"/>
                </a:solidFill>
              </a:rPr>
              <a:t>Aso</a:t>
            </a:r>
            <a:r>
              <a:rPr lang="en-IN" sz="1200" dirty="0">
                <a:solidFill>
                  <a:schemeClr val="tx1"/>
                </a:solidFill>
              </a:rPr>
              <a:t> </a:t>
            </a:r>
            <a:r>
              <a:rPr lang="en-IN" sz="1200" dirty="0" err="1">
                <a:solidFill>
                  <a:schemeClr val="tx1"/>
                </a:solidFill>
              </a:rPr>
              <a:t>techn</a:t>
            </a:r>
            <a:r>
              <a:rPr lang="en-IN" sz="1200" dirty="0">
                <a:solidFill>
                  <a:schemeClr val="tx1"/>
                </a:solidFill>
              </a:rPr>
              <a:t> …</a:t>
            </a: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Created by</a:t>
            </a:r>
          </a:p>
          <a:p>
            <a:pPr algn="ctr"/>
            <a:r>
              <a:rPr lang="en-IN" sz="1200" dirty="0" err="1">
                <a:solidFill>
                  <a:schemeClr val="tx1"/>
                </a:solidFill>
              </a:rPr>
              <a:t>Modiby</a:t>
            </a:r>
            <a:endParaRPr lang="en-IN" sz="1200" dirty="0">
              <a:solidFill>
                <a:schemeClr val="tx1"/>
              </a:solidFill>
            </a:endParaRPr>
          </a:p>
          <a:p>
            <a:pPr algn="ctr"/>
            <a:endParaRPr lang="en-IN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70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1DF03CC-77DC-49A5-A585-038693AA07D3}"/>
              </a:ext>
            </a:extLst>
          </p:cNvPr>
          <p:cNvSpPr/>
          <p:nvPr/>
        </p:nvSpPr>
        <p:spPr>
          <a:xfrm>
            <a:off x="1603480" y="759210"/>
            <a:ext cx="8482519" cy="43677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Task Type </a:t>
            </a:r>
          </a:p>
          <a:p>
            <a:pPr algn="ctr"/>
            <a:endParaRPr lang="en-IN" sz="1200" dirty="0">
              <a:solidFill>
                <a:schemeClr val="tx1"/>
              </a:solidFill>
            </a:endParaRP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Task Name 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Task time 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Task description 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Created by</a:t>
            </a:r>
          </a:p>
          <a:p>
            <a:pPr algn="ctr"/>
            <a:r>
              <a:rPr lang="en-IN" sz="1200" dirty="0" err="1">
                <a:solidFill>
                  <a:schemeClr val="tx1"/>
                </a:solidFill>
              </a:rPr>
              <a:t>Modiby</a:t>
            </a:r>
            <a:endParaRPr lang="en-IN" sz="1200" dirty="0">
              <a:solidFill>
                <a:schemeClr val="tx1"/>
              </a:solidFill>
            </a:endParaRPr>
          </a:p>
          <a:p>
            <a:pPr algn="ctr"/>
            <a:endParaRPr lang="en-IN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23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1DF03CC-77DC-49A5-A585-038693AA07D3}"/>
              </a:ext>
            </a:extLst>
          </p:cNvPr>
          <p:cNvSpPr/>
          <p:nvPr/>
        </p:nvSpPr>
        <p:spPr>
          <a:xfrm>
            <a:off x="1603480" y="759210"/>
            <a:ext cx="8482519" cy="43677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User</a:t>
            </a:r>
          </a:p>
          <a:p>
            <a:pPr algn="ctr"/>
            <a:endParaRPr lang="en-IN" sz="1200" dirty="0">
              <a:solidFill>
                <a:schemeClr val="tx1"/>
              </a:solidFill>
            </a:endParaRP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User Name : Nehul 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Department : ASO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starting time : 7</a:t>
            </a: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Created by</a:t>
            </a:r>
          </a:p>
          <a:p>
            <a:pPr algn="ctr"/>
            <a:r>
              <a:rPr lang="en-IN" sz="1200" dirty="0" err="1">
                <a:solidFill>
                  <a:schemeClr val="tx1"/>
                </a:solidFill>
              </a:rPr>
              <a:t>Modiby</a:t>
            </a:r>
            <a:endParaRPr lang="en-IN" sz="1200" dirty="0">
              <a:solidFill>
                <a:schemeClr val="tx1"/>
              </a:solidFill>
            </a:endParaRPr>
          </a:p>
          <a:p>
            <a:pPr algn="ctr"/>
            <a:endParaRPr lang="en-IN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6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1DF03CC-77DC-49A5-A585-038693AA07D3}"/>
              </a:ext>
            </a:extLst>
          </p:cNvPr>
          <p:cNvSpPr/>
          <p:nvPr/>
        </p:nvSpPr>
        <p:spPr>
          <a:xfrm>
            <a:off x="1603480" y="759210"/>
            <a:ext cx="8482519" cy="43677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Change over Process Mapping List</a:t>
            </a:r>
          </a:p>
          <a:p>
            <a:pPr algn="ctr"/>
            <a:endParaRPr lang="en-IN" sz="1200" dirty="0">
              <a:solidFill>
                <a:schemeClr val="tx1"/>
              </a:solidFill>
            </a:endParaRP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Process Name : change over process 1 ( dropdown)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Process time : time from process list -  text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Username  : Nehul ( dropdown)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Department : automatic from user list 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starting time : from user list </a:t>
            </a:r>
            <a:br>
              <a:rPr lang="en-IN" sz="1200" dirty="0">
                <a:solidFill>
                  <a:schemeClr val="tx1"/>
                </a:solidFill>
              </a:rPr>
            </a:br>
            <a:r>
              <a:rPr lang="en-IN" sz="1200" dirty="0">
                <a:solidFill>
                  <a:schemeClr val="tx1"/>
                </a:solidFill>
              </a:rPr>
              <a:t>Select Task ( </a:t>
            </a:r>
            <a:r>
              <a:rPr lang="en-IN" sz="1200" dirty="0" err="1">
                <a:solidFill>
                  <a:schemeClr val="tx1"/>
                </a:solidFill>
              </a:rPr>
              <a:t>Combobox</a:t>
            </a:r>
            <a:r>
              <a:rPr lang="en-IN" sz="1200" dirty="0">
                <a:solidFill>
                  <a:schemeClr val="tx1"/>
                </a:solidFill>
              </a:rPr>
              <a:t> multi select) </a:t>
            </a:r>
            <a:br>
              <a:rPr lang="en-IN" sz="1200" dirty="0">
                <a:solidFill>
                  <a:schemeClr val="tx1"/>
                </a:solidFill>
              </a:rPr>
            </a:br>
            <a:endParaRPr lang="en-IN" sz="1200" dirty="0">
              <a:solidFill>
                <a:schemeClr val="tx1"/>
              </a:solidFill>
            </a:endParaRP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Created by</a:t>
            </a:r>
          </a:p>
          <a:p>
            <a:pPr algn="ctr"/>
            <a:r>
              <a:rPr lang="en-IN" sz="1200" dirty="0" err="1">
                <a:solidFill>
                  <a:schemeClr val="tx1"/>
                </a:solidFill>
              </a:rPr>
              <a:t>Modiby</a:t>
            </a:r>
            <a:endParaRPr lang="en-IN" sz="1200" dirty="0">
              <a:solidFill>
                <a:schemeClr val="tx1"/>
              </a:solidFill>
            </a:endParaRPr>
          </a:p>
          <a:p>
            <a:pPr algn="ctr"/>
            <a:endParaRPr lang="en-IN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50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1DF03CC-77DC-49A5-A585-038693AA07D3}"/>
              </a:ext>
            </a:extLst>
          </p:cNvPr>
          <p:cNvSpPr/>
          <p:nvPr/>
        </p:nvSpPr>
        <p:spPr>
          <a:xfrm>
            <a:off x="1603480" y="759210"/>
            <a:ext cx="8482519" cy="436771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Basic Layout Screen </a:t>
            </a:r>
          </a:p>
          <a:p>
            <a:pPr algn="ctr"/>
            <a:endParaRPr lang="en-IN" sz="1200" dirty="0">
              <a:solidFill>
                <a:schemeClr val="tx1"/>
              </a:solidFill>
            </a:endParaRP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With progress bar</a:t>
            </a:r>
          </a:p>
          <a:p>
            <a:pPr algn="ctr"/>
            <a:endParaRPr lang="en-IN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12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1DF03CC-77DC-49A5-A585-038693AA07D3}"/>
              </a:ext>
            </a:extLst>
          </p:cNvPr>
          <p:cNvSpPr/>
          <p:nvPr/>
        </p:nvSpPr>
        <p:spPr>
          <a:xfrm>
            <a:off x="1603480" y="759210"/>
            <a:ext cx="8482519" cy="436771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solidFill>
              <a:srgbClr val="FC192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Green tile  Layout Screen </a:t>
            </a:r>
          </a:p>
          <a:p>
            <a:pPr algn="ctr"/>
            <a:endParaRPr lang="en-IN" sz="1200" dirty="0">
              <a:solidFill>
                <a:schemeClr val="tx1"/>
              </a:solidFill>
            </a:endParaRPr>
          </a:p>
          <a:p>
            <a:pPr algn="ctr"/>
            <a:r>
              <a:rPr lang="en-IN" sz="1200" dirty="0">
                <a:solidFill>
                  <a:schemeClr val="tx1"/>
                </a:solidFill>
              </a:rPr>
              <a:t>With progress bar</a:t>
            </a:r>
          </a:p>
          <a:p>
            <a:pPr algn="ctr"/>
            <a:endParaRPr lang="en-IN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4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NAME" val="CSL Grid 16:9"/>
  <p:tag name="EE4P_MASTERWIZARD_DRAFT" val="0"/>
  <p:tag name="EE4P_MASTERWIZARD_MARGINS" val="0"/>
  <p:tag name="EE4P_STYLE_ID" val="WB5g8KyM"/>
  <p:tag name="THINKCELLUNDODONOTDELETE" val="0"/>
  <p:tag name="THINKCELLPRESENTATIONDONOTDELETE" val="&lt;?xml version=&quot;1.0&quot; encoding=&quot;UTF-16&quot; standalone=&quot;yes&quot;?&gt;&lt;root reqver=&quot;28224&quot;&gt;&lt;version val=&quot;3558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89999999999999991118E+00&quot;&gt;&lt;m_msothmcolidx val=&quot;0&quot;/&gt;&lt;m_rgb r=&quot;29&quot; g=&quot;BA&quot; b=&quot;74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ITLE" val="TagSlide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SL Grid 16:9 - 21758">
  <a:themeElements>
    <a:clrScheme name="Theme color">
      <a:dk1>
        <a:srgbClr val="231F20"/>
      </a:dk1>
      <a:lt1>
        <a:sysClr val="window" lastClr="FFFFFF"/>
      </a:lt1>
      <a:dk2>
        <a:srgbClr val="FC1921"/>
      </a:dk2>
      <a:lt2>
        <a:srgbClr val="F2F2F2"/>
      </a:lt2>
      <a:accent1>
        <a:srgbClr val="880106"/>
      </a:accent1>
      <a:accent2>
        <a:srgbClr val="CD0209"/>
      </a:accent2>
      <a:accent3>
        <a:srgbClr val="F5C017"/>
      </a:accent3>
      <a:accent4>
        <a:srgbClr val="FD7479"/>
      </a:accent4>
      <a:accent5>
        <a:srgbClr val="808285"/>
      </a:accent5>
      <a:accent6>
        <a:srgbClr val="E2DFDA"/>
      </a:accent6>
      <a:hlink>
        <a:srgbClr val="DB2877"/>
      </a:hlink>
      <a:folHlink>
        <a:srgbClr val="C6D92D"/>
      </a:folHlink>
    </a:clrScheme>
    <a:fontScheme name="Theme font">
      <a:majorFont>
        <a:latin typeface="Montserrat"/>
        <a:ea typeface=""/>
        <a:cs typeface=""/>
      </a:majorFont>
      <a:minorFont>
        <a:latin typeface="Montserrat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C1921"/>
        </a:solidFill>
        <a:ln w="9525" cap="rnd" cmpd="sng" algn="ctr">
          <a:solidFill>
            <a:srgbClr val="FC1921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231F2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1a84131-4bae-42ba-9a4a-e139fe66ee22" xsi:nil="true"/>
    <lcf76f155ced4ddcb4097134ff3c332f xmlns="4bcad972-bb1b-49ad-9c7f-f5dc39c90e6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7B1F7ACD3EBA4CACD006E94644458D" ma:contentTypeVersion="14" ma:contentTypeDescription="Create a new document." ma:contentTypeScope="" ma:versionID="961094cd1279064d243e3e9376e1bf30">
  <xsd:schema xmlns:xsd="http://www.w3.org/2001/XMLSchema" xmlns:xs="http://www.w3.org/2001/XMLSchema" xmlns:p="http://schemas.microsoft.com/office/2006/metadata/properties" xmlns:ns2="4bcad972-bb1b-49ad-9c7f-f5dc39c90e62" xmlns:ns3="f1a84131-4bae-42ba-9a4a-e139fe66ee22" targetNamespace="http://schemas.microsoft.com/office/2006/metadata/properties" ma:root="true" ma:fieldsID="a8237072c32053a97ba509b04a349229" ns2:_="" ns3:_="">
    <xsd:import namespace="4bcad972-bb1b-49ad-9c7f-f5dc39c90e62"/>
    <xsd:import namespace="f1a84131-4bae-42ba-9a4a-e139fe66ee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cad972-bb1b-49ad-9c7f-f5dc39c90e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b32c33a4-8245-4daf-b85d-86e769940a2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a84131-4bae-42ba-9a4a-e139fe66ee2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38a8c89-1666-4d52-9cb4-c7e42703a343}" ma:internalName="TaxCatchAll" ma:showField="CatchAllData" ma:web="f1a84131-4bae-42ba-9a4a-e139fe66ee2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2E66FB-E39D-4867-A654-0BA3642CDC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E8C717-8960-4404-81FA-A4778A6FFD94}">
  <ds:schemaRefs>
    <ds:schemaRef ds:uri="http://schemas.microsoft.com/office/infopath/2007/PartnerControls"/>
    <ds:schemaRef ds:uri="f1a84131-4bae-42ba-9a4a-e139fe66ee22"/>
    <ds:schemaRef ds:uri="http://purl.org/dc/dcmitype/"/>
    <ds:schemaRef ds:uri="http://schemas.microsoft.com/office/2006/documentManagement/types"/>
    <ds:schemaRef ds:uri="http://schemas.microsoft.com/office/2006/metadata/properties"/>
    <ds:schemaRef ds:uri="4bcad972-bb1b-49ad-9c7f-f5dc39c90e62"/>
    <ds:schemaRef ds:uri="http://purl.org/dc/terms/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A9221BA7-E03D-47E6-9F70-CA868E2336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cad972-bb1b-49ad-9c7f-f5dc39c90e62"/>
    <ds:schemaRef ds:uri="f1a84131-4bae-42ba-9a4a-e139fe66ee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</TotalTime>
  <Words>890</Words>
  <Application>Microsoft Office PowerPoint</Application>
  <PresentationFormat>Widescreen</PresentationFormat>
  <Paragraphs>204</Paragraphs>
  <Slides>9</Slides>
  <Notes>0</Notes>
  <HiddenSlides>2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  <vt:variant>
        <vt:lpstr>Custom Shows</vt:lpstr>
      </vt:variant>
      <vt:variant>
        <vt:i4>1</vt:i4>
      </vt:variant>
    </vt:vector>
  </HeadingPairs>
  <TitlesOfParts>
    <vt:vector size="16" baseType="lpstr">
      <vt:lpstr>Arial</vt:lpstr>
      <vt:lpstr>Montserrat</vt:lpstr>
      <vt:lpstr>Montserrat Light</vt:lpstr>
      <vt:lpstr>Trebuchet MS</vt:lpstr>
      <vt:lpstr>CSL Grid 16:9 - 21758</vt:lpstr>
      <vt:lpstr>think-cell Slide</vt:lpstr>
      <vt:lpstr>Changeover process map | future state (1/2)</vt:lpstr>
      <vt:lpstr>Changeover process map | future state (2/2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Nehul Patel</cp:lastModifiedBy>
  <cp:revision>5</cp:revision>
  <cp:lastPrinted>2000-01-01T06:00:00Z</cp:lastPrinted>
  <dcterms:created xsi:type="dcterms:W3CDTF">2024-08-15T06:20:17Z</dcterms:created>
  <dcterms:modified xsi:type="dcterms:W3CDTF">2025-04-04T06:22:4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4-08-15T05:30:10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0c1e012f-aa69-4b73-b7df-39aa2295987a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ContentTypeId">
    <vt:lpwstr>0x0101000C7B1F7ACD3EBA4CACD006E94644458D</vt:lpwstr>
  </property>
  <property fmtid="{D5CDD505-2E9C-101B-9397-08002B2CF9AE}" pid="15" name="MediaServiceImageTags">
    <vt:lpwstr/>
  </property>
</Properties>
</file>